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37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FE3DB9-009D-46F2-909D-33B323C63588}" type="datetimeFigureOut">
              <a:rPr lang="en-GB" smtClean="0"/>
              <a:t>22/08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8A8368-C38D-49D2-9D05-F3014D3399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115073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FE3DB9-009D-46F2-909D-33B323C63588}" type="datetimeFigureOut">
              <a:rPr lang="en-GB" smtClean="0"/>
              <a:t>22/08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8A8368-C38D-49D2-9D05-F3014D3399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36394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FE3DB9-009D-46F2-909D-33B323C63588}" type="datetimeFigureOut">
              <a:rPr lang="en-GB" smtClean="0"/>
              <a:t>22/08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8A8368-C38D-49D2-9D05-F3014D3399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47135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FE3DB9-009D-46F2-909D-33B323C63588}" type="datetimeFigureOut">
              <a:rPr lang="en-GB" smtClean="0"/>
              <a:t>22/08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8A8368-C38D-49D2-9D05-F3014D3399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05042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FE3DB9-009D-46F2-909D-33B323C63588}" type="datetimeFigureOut">
              <a:rPr lang="en-GB" smtClean="0"/>
              <a:t>22/08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8A8368-C38D-49D2-9D05-F3014D3399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48272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FE3DB9-009D-46F2-909D-33B323C63588}" type="datetimeFigureOut">
              <a:rPr lang="en-GB" smtClean="0"/>
              <a:t>22/08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8A8368-C38D-49D2-9D05-F3014D3399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05335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FE3DB9-009D-46F2-909D-33B323C63588}" type="datetimeFigureOut">
              <a:rPr lang="en-GB" smtClean="0"/>
              <a:t>22/08/2018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8A8368-C38D-49D2-9D05-F3014D3399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04227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FE3DB9-009D-46F2-909D-33B323C63588}" type="datetimeFigureOut">
              <a:rPr lang="en-GB" smtClean="0"/>
              <a:t>22/08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8A8368-C38D-49D2-9D05-F3014D3399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49641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FE3DB9-009D-46F2-909D-33B323C63588}" type="datetimeFigureOut">
              <a:rPr lang="en-GB" smtClean="0"/>
              <a:t>22/08/2018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8A8368-C38D-49D2-9D05-F3014D3399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66192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FE3DB9-009D-46F2-909D-33B323C63588}" type="datetimeFigureOut">
              <a:rPr lang="en-GB" smtClean="0"/>
              <a:t>22/08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8A8368-C38D-49D2-9D05-F3014D3399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58683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FE3DB9-009D-46F2-909D-33B323C63588}" type="datetimeFigureOut">
              <a:rPr lang="en-GB" smtClean="0"/>
              <a:t>22/08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D8A8368-C38D-49D2-9D05-F3014D3399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3722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FE3DB9-009D-46F2-909D-33B323C63588}" type="datetimeFigureOut">
              <a:rPr lang="en-GB" smtClean="0"/>
              <a:t>22/08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8A8368-C38D-49D2-9D05-F3014D3399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1579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07" Type="http://schemas.openxmlformats.org/officeDocument/2006/relationships/tags" Target="../tags/tag107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28" Type="http://schemas.openxmlformats.org/officeDocument/2006/relationships/tags" Target="../tags/tag128.xml"/><Relationship Id="rId5" Type="http://schemas.openxmlformats.org/officeDocument/2006/relationships/tags" Target="../tags/tag5.xml"/><Relationship Id="rId90" Type="http://schemas.openxmlformats.org/officeDocument/2006/relationships/tags" Target="../tags/tag90.xml"/><Relationship Id="rId95" Type="http://schemas.openxmlformats.org/officeDocument/2006/relationships/tags" Target="../tags/tag95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18" Type="http://schemas.openxmlformats.org/officeDocument/2006/relationships/tags" Target="../tags/tag118.xml"/><Relationship Id="rId134" Type="http://schemas.openxmlformats.org/officeDocument/2006/relationships/tags" Target="../tags/tag134.xml"/><Relationship Id="rId139" Type="http://schemas.openxmlformats.org/officeDocument/2006/relationships/tags" Target="../tags/tag139.xml"/><Relationship Id="rId80" Type="http://schemas.openxmlformats.org/officeDocument/2006/relationships/tags" Target="../tags/tag80.xml"/><Relationship Id="rId85" Type="http://schemas.openxmlformats.org/officeDocument/2006/relationships/tags" Target="../tags/tag85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08" Type="http://schemas.openxmlformats.org/officeDocument/2006/relationships/tags" Target="../tags/tag108.xml"/><Relationship Id="rId124" Type="http://schemas.openxmlformats.org/officeDocument/2006/relationships/tags" Target="../tags/tag124.xml"/><Relationship Id="rId129" Type="http://schemas.openxmlformats.org/officeDocument/2006/relationships/tags" Target="../tags/tag129.xml"/><Relationship Id="rId54" Type="http://schemas.openxmlformats.org/officeDocument/2006/relationships/tags" Target="../tags/tag54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91" Type="http://schemas.openxmlformats.org/officeDocument/2006/relationships/tags" Target="../tags/tag91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119" Type="http://schemas.openxmlformats.org/officeDocument/2006/relationships/tags" Target="../tags/tag119.xml"/><Relationship Id="rId44" Type="http://schemas.openxmlformats.org/officeDocument/2006/relationships/tags" Target="../tags/tag44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81" Type="http://schemas.openxmlformats.org/officeDocument/2006/relationships/tags" Target="../tags/tag81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35" Type="http://schemas.openxmlformats.org/officeDocument/2006/relationships/tags" Target="../tags/tag135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109" Type="http://schemas.openxmlformats.org/officeDocument/2006/relationships/tags" Target="../tags/tag10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04" Type="http://schemas.openxmlformats.org/officeDocument/2006/relationships/tags" Target="../tags/tag104.xml"/><Relationship Id="rId120" Type="http://schemas.openxmlformats.org/officeDocument/2006/relationships/tags" Target="../tags/tag120.xml"/><Relationship Id="rId125" Type="http://schemas.openxmlformats.org/officeDocument/2006/relationships/tags" Target="../tags/tag125.xml"/><Relationship Id="rId141" Type="http://schemas.openxmlformats.org/officeDocument/2006/relationships/slideLayout" Target="../slideLayouts/slideLayout1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15" Type="http://schemas.openxmlformats.org/officeDocument/2006/relationships/tags" Target="../tags/tag115.xml"/><Relationship Id="rId131" Type="http://schemas.openxmlformats.org/officeDocument/2006/relationships/tags" Target="../tags/tag131.xml"/><Relationship Id="rId136" Type="http://schemas.openxmlformats.org/officeDocument/2006/relationships/tags" Target="../tags/tag136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3" Type="http://schemas.openxmlformats.org/officeDocument/2006/relationships/tags" Target="../tags/tag3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94" Type="http://schemas.openxmlformats.org/officeDocument/2006/relationships/tags" Target="../tags/tag94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26" Type="http://schemas.openxmlformats.org/officeDocument/2006/relationships/tags" Target="../tags/tag26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6" Type="http://schemas.openxmlformats.org/officeDocument/2006/relationships/tags" Target="../tags/tag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itle 31"/>
          <p:cNvSpPr txBox="1">
            <a:spLocks/>
          </p:cNvSpPr>
          <p:nvPr/>
        </p:nvSpPr>
        <p:spPr>
          <a:xfrm>
            <a:off x="457200" y="908720"/>
            <a:ext cx="8280000" cy="432000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47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smtClean="0">
                <a:latin typeface="Univers for HB" panose="020B0403030202020203" pitchFamily="34" charset="0"/>
              </a:rPr>
              <a:t>Cross Project </a:t>
            </a:r>
            <a:r>
              <a:rPr lang="de-DE" dirty="0" err="1" smtClean="0">
                <a:latin typeface="Univers for HB" panose="020B0403030202020203" pitchFamily="34" charset="0"/>
              </a:rPr>
              <a:t>Preparation</a:t>
            </a:r>
            <a:r>
              <a:rPr lang="de-DE" dirty="0" smtClean="0">
                <a:latin typeface="Univers for HB" panose="020B0403030202020203" pitchFamily="34" charset="0"/>
              </a:rPr>
              <a:t> Approach</a:t>
            </a:r>
            <a:endParaRPr lang="en-GB" dirty="0"/>
          </a:p>
        </p:txBody>
      </p:sp>
      <p:sp>
        <p:nvSpPr>
          <p:cNvPr id="8" name="Rectangle 7"/>
          <p:cNvSpPr/>
          <p:nvPr>
            <p:custDataLst>
              <p:tags r:id="rId1"/>
            </p:custDataLst>
          </p:nvPr>
        </p:nvSpPr>
        <p:spPr bwMode="auto">
          <a:xfrm>
            <a:off x="323850" y="2838451"/>
            <a:ext cx="8483204" cy="173831"/>
          </a:xfrm>
          <a:prstGeom prst="rect">
            <a:avLst/>
          </a:prstGeom>
          <a:solidFill>
            <a:srgbClr val="D6D7D9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9" name="Rectangle 8"/>
          <p:cNvSpPr/>
          <p:nvPr>
            <p:custDataLst>
              <p:tags r:id="rId2"/>
            </p:custDataLst>
          </p:nvPr>
        </p:nvSpPr>
        <p:spPr bwMode="auto">
          <a:xfrm>
            <a:off x="323850" y="3732610"/>
            <a:ext cx="8483204" cy="134541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10" name="Rectangle 9"/>
          <p:cNvSpPr/>
          <p:nvPr>
            <p:custDataLst>
              <p:tags r:id="rId3"/>
            </p:custDataLst>
          </p:nvPr>
        </p:nvSpPr>
        <p:spPr bwMode="auto">
          <a:xfrm>
            <a:off x="323850" y="5224463"/>
            <a:ext cx="8483204" cy="296466"/>
          </a:xfrm>
          <a:prstGeom prst="rect">
            <a:avLst/>
          </a:prstGeom>
          <a:solidFill>
            <a:srgbClr val="D6D7D9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11" name="Rectangle 10"/>
          <p:cNvSpPr/>
          <p:nvPr>
            <p:custDataLst>
              <p:tags r:id="rId4"/>
            </p:custDataLst>
          </p:nvPr>
        </p:nvSpPr>
        <p:spPr bwMode="auto">
          <a:xfrm>
            <a:off x="323850" y="5089922"/>
            <a:ext cx="8483204" cy="134541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12" name="Rectangle 11"/>
          <p:cNvSpPr/>
          <p:nvPr>
            <p:custDataLst>
              <p:tags r:id="rId5"/>
            </p:custDataLst>
          </p:nvPr>
        </p:nvSpPr>
        <p:spPr bwMode="auto">
          <a:xfrm>
            <a:off x="323850" y="3381375"/>
            <a:ext cx="8483204" cy="134541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13" name="Rectangle 12"/>
          <p:cNvSpPr/>
          <p:nvPr>
            <p:custDataLst>
              <p:tags r:id="rId6"/>
            </p:custDataLst>
          </p:nvPr>
        </p:nvSpPr>
        <p:spPr bwMode="auto">
          <a:xfrm>
            <a:off x="323850" y="2188369"/>
            <a:ext cx="8483204" cy="17145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14" name="Rectangle 13"/>
          <p:cNvSpPr/>
          <p:nvPr>
            <p:custDataLst>
              <p:tags r:id="rId7"/>
            </p:custDataLst>
          </p:nvPr>
        </p:nvSpPr>
        <p:spPr bwMode="auto">
          <a:xfrm>
            <a:off x="323850" y="3246835"/>
            <a:ext cx="8483204" cy="134541"/>
          </a:xfrm>
          <a:prstGeom prst="rect">
            <a:avLst/>
          </a:prstGeom>
          <a:solidFill>
            <a:srgbClr val="D6D7D9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15" name="Rectangle 14"/>
          <p:cNvSpPr/>
          <p:nvPr>
            <p:custDataLst>
              <p:tags r:id="rId8"/>
            </p:custDataLst>
          </p:nvPr>
        </p:nvSpPr>
        <p:spPr bwMode="auto">
          <a:xfrm>
            <a:off x="323850" y="4450557"/>
            <a:ext cx="8483204" cy="154781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16" name="Rectangle 15"/>
          <p:cNvSpPr/>
          <p:nvPr>
            <p:custDataLst>
              <p:tags r:id="rId9"/>
            </p:custDataLst>
          </p:nvPr>
        </p:nvSpPr>
        <p:spPr bwMode="auto">
          <a:xfrm>
            <a:off x="323850" y="4955381"/>
            <a:ext cx="8483204" cy="134541"/>
          </a:xfrm>
          <a:prstGeom prst="rect">
            <a:avLst/>
          </a:prstGeom>
          <a:solidFill>
            <a:srgbClr val="D6D7D9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17" name="Rectangle 16"/>
          <p:cNvSpPr/>
          <p:nvPr>
            <p:custDataLst>
              <p:tags r:id="rId10"/>
            </p:custDataLst>
          </p:nvPr>
        </p:nvSpPr>
        <p:spPr bwMode="auto">
          <a:xfrm>
            <a:off x="323850" y="4822031"/>
            <a:ext cx="8483204" cy="133350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18" name="Rectangle 17"/>
          <p:cNvSpPr/>
          <p:nvPr>
            <p:custDataLst>
              <p:tags r:id="rId11"/>
            </p:custDataLst>
          </p:nvPr>
        </p:nvSpPr>
        <p:spPr bwMode="auto">
          <a:xfrm>
            <a:off x="323850" y="2359819"/>
            <a:ext cx="8483204" cy="323850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19" name="Rectangle 18"/>
          <p:cNvSpPr/>
          <p:nvPr>
            <p:custDataLst>
              <p:tags r:id="rId12"/>
            </p:custDataLst>
          </p:nvPr>
        </p:nvSpPr>
        <p:spPr bwMode="auto">
          <a:xfrm>
            <a:off x="323850" y="4000500"/>
            <a:ext cx="8483204" cy="134541"/>
          </a:xfrm>
          <a:prstGeom prst="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20" name="Rectangle 19"/>
          <p:cNvSpPr/>
          <p:nvPr>
            <p:custDataLst>
              <p:tags r:id="rId13"/>
            </p:custDataLst>
          </p:nvPr>
        </p:nvSpPr>
        <p:spPr bwMode="auto">
          <a:xfrm>
            <a:off x="323850" y="4282678"/>
            <a:ext cx="8483204" cy="167879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21" name="Rectangle 20"/>
          <p:cNvSpPr/>
          <p:nvPr>
            <p:custDataLst>
              <p:tags r:id="rId14"/>
            </p:custDataLst>
          </p:nvPr>
        </p:nvSpPr>
        <p:spPr bwMode="auto">
          <a:xfrm>
            <a:off x="323850" y="4135041"/>
            <a:ext cx="8483204" cy="147638"/>
          </a:xfrm>
          <a:prstGeom prst="rect">
            <a:avLst/>
          </a:prstGeom>
          <a:solidFill>
            <a:srgbClr val="D6D7D9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22" name="Rectangle 21"/>
          <p:cNvSpPr/>
          <p:nvPr>
            <p:custDataLst>
              <p:tags r:id="rId15"/>
            </p:custDataLst>
          </p:nvPr>
        </p:nvSpPr>
        <p:spPr bwMode="auto">
          <a:xfrm>
            <a:off x="323850" y="3012281"/>
            <a:ext cx="8483204" cy="234554"/>
          </a:xfrm>
          <a:prstGeom prst="rect">
            <a:avLst/>
          </a:prstGeom>
          <a:solidFill>
            <a:schemeClr val="accent6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23" name="Rectangle 22"/>
          <p:cNvSpPr/>
          <p:nvPr>
            <p:custDataLst>
              <p:tags r:id="rId16"/>
            </p:custDataLst>
          </p:nvPr>
        </p:nvSpPr>
        <p:spPr bwMode="auto">
          <a:xfrm>
            <a:off x="323850" y="2683669"/>
            <a:ext cx="8483204" cy="154781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24" name="Rectangle 23"/>
          <p:cNvSpPr/>
          <p:nvPr>
            <p:custDataLst>
              <p:tags r:id="rId17"/>
            </p:custDataLst>
          </p:nvPr>
        </p:nvSpPr>
        <p:spPr bwMode="auto">
          <a:xfrm>
            <a:off x="323850" y="3867150"/>
            <a:ext cx="8483204" cy="133350"/>
          </a:xfrm>
          <a:prstGeom prst="rect">
            <a:avLst/>
          </a:prstGeom>
          <a:solidFill>
            <a:srgbClr val="D6D7D9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25" name="Rectangle 24"/>
          <p:cNvSpPr/>
          <p:nvPr>
            <p:custDataLst>
              <p:tags r:id="rId18"/>
            </p:custDataLst>
          </p:nvPr>
        </p:nvSpPr>
        <p:spPr bwMode="auto">
          <a:xfrm>
            <a:off x="323850" y="3515916"/>
            <a:ext cx="8483204" cy="216694"/>
          </a:xfrm>
          <a:prstGeom prst="rect">
            <a:avLst/>
          </a:prstGeom>
          <a:solidFill>
            <a:srgbClr val="D6D7D9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26" name="Rectangle 25"/>
          <p:cNvSpPr/>
          <p:nvPr>
            <p:custDataLst>
              <p:tags r:id="rId19"/>
            </p:custDataLst>
          </p:nvPr>
        </p:nvSpPr>
        <p:spPr bwMode="auto">
          <a:xfrm>
            <a:off x="323850" y="4605338"/>
            <a:ext cx="8483204" cy="216694"/>
          </a:xfrm>
          <a:prstGeom prst="rect">
            <a:avLst/>
          </a:prstGeom>
          <a:solidFill>
            <a:srgbClr val="D6D7D9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27" name="Rectangle 26"/>
          <p:cNvSpPr/>
          <p:nvPr>
            <p:custDataLst>
              <p:tags r:id="rId20"/>
            </p:custDataLst>
          </p:nvPr>
        </p:nvSpPr>
        <p:spPr bwMode="auto">
          <a:xfrm>
            <a:off x="7115175" y="2188369"/>
            <a:ext cx="846535" cy="3332560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28" name="Rectangle 27"/>
          <p:cNvSpPr/>
          <p:nvPr>
            <p:custDataLst>
              <p:tags r:id="rId21"/>
            </p:custDataLst>
          </p:nvPr>
        </p:nvSpPr>
        <p:spPr bwMode="auto">
          <a:xfrm>
            <a:off x="5235179" y="2188369"/>
            <a:ext cx="1410891" cy="3332560"/>
          </a:xfrm>
          <a:prstGeom prst="rect">
            <a:avLst/>
          </a:prstGeom>
          <a:solidFill>
            <a:schemeClr val="tx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29" name="Textplatzhalt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945482" y="1952626"/>
            <a:ext cx="940594" cy="117872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B31159A-9DDB-4EC6-B0B1-BA0D8A0BA930}" type="datetime'''''''''''''''''''''''''''''''''''''M''a''r'''''">
              <a:rPr lang="en-GB" altLang="en-US" sz="600" b="1"/>
              <a:pPr algn="ctr">
                <a:spcBef>
                  <a:spcPct val="0"/>
                </a:spcBef>
                <a:spcAft>
                  <a:spcPct val="0"/>
                </a:spcAft>
              </a:pPr>
              <a:t>Mar</a:t>
            </a:fld>
            <a:endParaRPr lang="en-GB" sz="600" b="1" dirty="0">
              <a:latin typeface="+mn-lt"/>
              <a:sym typeface="+mn-lt"/>
            </a:endParaRPr>
          </a:p>
        </p:txBody>
      </p:sp>
      <p:sp>
        <p:nvSpPr>
          <p:cNvPr id="30" name="Textplatzhalt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886076" y="1952626"/>
            <a:ext cx="1974056" cy="117872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A275073-FA86-464E-919C-06A95F6E9B97}" type="datetime'''''''A''''''''''''''''''''''''''''''''''''p''''r'">
              <a:rPr lang="en-GB" altLang="en-US" sz="600" b="1"/>
              <a:pPr algn="ctr">
                <a:spcBef>
                  <a:spcPct val="0"/>
                </a:spcBef>
                <a:spcAft>
                  <a:spcPct val="0"/>
                </a:spcAft>
              </a:pPr>
              <a:t>Apr</a:t>
            </a:fld>
            <a:endParaRPr lang="en-GB" sz="600" b="1" dirty="0">
              <a:latin typeface="+mn-lt"/>
              <a:sym typeface="+mn-lt"/>
            </a:endParaRPr>
          </a:p>
        </p:txBody>
      </p:sp>
      <p:sp>
        <p:nvSpPr>
          <p:cNvPr id="31" name="Textplatzhalt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4860131" y="1952626"/>
            <a:ext cx="2162175" cy="117872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8133348-46C5-4E74-AC09-D034CDF7C452}" type="datetime'''''''''''''M''''''''''a''''''''''y'''''''''''''''''''">
              <a:rPr lang="en-GB" altLang="en-US" sz="600" b="1"/>
              <a:pPr algn="ctr">
                <a:spcBef>
                  <a:spcPct val="0"/>
                </a:spcBef>
                <a:spcAft>
                  <a:spcPct val="0"/>
                </a:spcAft>
              </a:pPr>
              <a:t>May</a:t>
            </a:fld>
            <a:endParaRPr lang="en-GB" sz="600" b="1" dirty="0">
              <a:latin typeface="+mn-lt"/>
              <a:sym typeface="+mn-lt"/>
            </a:endParaRPr>
          </a:p>
        </p:txBody>
      </p:sp>
      <p:sp>
        <p:nvSpPr>
          <p:cNvPr id="32" name="Textplatzhalt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022306" y="1952626"/>
            <a:ext cx="1033463" cy="117872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97127C3-7364-4E5C-A010-AD58DDBC68D7}" type="datetime'''''J''u''''''''''''''''''''n'''''''''''''''''''''''''">
              <a:rPr lang="en-GB" altLang="en-US" sz="600" b="1"/>
              <a:pPr algn="ctr">
                <a:spcBef>
                  <a:spcPct val="0"/>
                </a:spcBef>
                <a:spcAft>
                  <a:spcPct val="0"/>
                </a:spcAft>
              </a:pPr>
              <a:t>Jun</a:t>
            </a:fld>
            <a:endParaRPr lang="en-GB" sz="600" b="1" dirty="0">
              <a:latin typeface="+mn-lt"/>
              <a:sym typeface="+mn-lt"/>
            </a:endParaRPr>
          </a:p>
        </p:txBody>
      </p:sp>
      <p:sp>
        <p:nvSpPr>
          <p:cNvPr id="33" name="Textplatzhalt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945482" y="2070498"/>
            <a:ext cx="470297" cy="117872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47745F3-FF6C-420F-960C-9FE430468C1D}" type="datetime'''1''''''''''''''''''''''''''''''''2'''''''''">
              <a:rPr lang="en-GB" altLang="en-US" sz="600" b="1"/>
              <a:pPr algn="ctr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en-GB" sz="600" b="1" dirty="0">
              <a:latin typeface="+mn-lt"/>
              <a:sym typeface="+mn-lt"/>
            </a:endParaRPr>
          </a:p>
        </p:txBody>
      </p:sp>
      <p:sp>
        <p:nvSpPr>
          <p:cNvPr id="34" name="Textplatzhalt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415779" y="2070498"/>
            <a:ext cx="470297" cy="117872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72BDCA8-FF14-4E26-92A5-E4DB8F86E2BB}" type="datetime'''1''''''''''''''''''''''''''''''''''''3'''">
              <a:rPr lang="en-GB" altLang="en-US" sz="600" b="1"/>
              <a:pPr algn="ctr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en-GB" sz="600" b="1" dirty="0">
              <a:latin typeface="+mn-lt"/>
              <a:sym typeface="+mn-lt"/>
            </a:endParaRPr>
          </a:p>
        </p:txBody>
      </p:sp>
      <p:sp>
        <p:nvSpPr>
          <p:cNvPr id="35" name="Textplatzhalt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886076" y="2070498"/>
            <a:ext cx="469106" cy="117872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2083499-CA0E-41B3-AC77-95D5F703E82A}" type="datetime'''''''''1''''''''''4'''''''''''''''''''''''''''''''''">
              <a:rPr lang="en-GB" altLang="en-US" sz="600" b="1"/>
              <a:pPr algn="ctr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GB" sz="600" b="1" dirty="0">
              <a:latin typeface="+mn-lt"/>
              <a:sym typeface="+mn-lt"/>
            </a:endParaRPr>
          </a:p>
        </p:txBody>
      </p:sp>
      <p:sp>
        <p:nvSpPr>
          <p:cNvPr id="36" name="Textplatzhalt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355182" y="2070498"/>
            <a:ext cx="470297" cy="117872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8CD5565-BD3E-4747-B6DB-E228AE9A91DC}" type="datetime'''''''1''''''''''''''''''''''''''''''''''''''''''''5'''''''''">
              <a:rPr lang="en-GB" altLang="en-US" sz="600" b="1"/>
              <a:pPr algn="ctr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n-GB" sz="600" b="1" dirty="0">
              <a:latin typeface="+mn-lt"/>
              <a:sym typeface="+mn-lt"/>
            </a:endParaRPr>
          </a:p>
        </p:txBody>
      </p:sp>
      <p:sp>
        <p:nvSpPr>
          <p:cNvPr id="37" name="Textplatzhalt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3825479" y="2070498"/>
            <a:ext cx="470297" cy="117872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BAF8F84-B3A7-4BE9-B790-D4CDA935E906}" type="datetime'''''''''''''''1''''''''''''6'''''''''''">
              <a:rPr lang="en-GB" altLang="en-US" sz="600" b="1"/>
              <a:pPr algn="ctr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en-GB" sz="600" b="1" dirty="0">
              <a:latin typeface="+mn-lt"/>
              <a:sym typeface="+mn-lt"/>
            </a:endParaRPr>
          </a:p>
        </p:txBody>
      </p:sp>
      <p:sp>
        <p:nvSpPr>
          <p:cNvPr id="38" name="Textplatzhalt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295776" y="2070498"/>
            <a:ext cx="470297" cy="117872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4489447-BB31-456D-B0E9-5EB97B338638}" type="datetime'''''''17'''''''''''">
              <a:rPr lang="en-GB" altLang="en-US" sz="600" b="1"/>
              <a:pPr algn="ctr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en-GB" sz="600" b="1" dirty="0">
              <a:latin typeface="+mn-lt"/>
              <a:sym typeface="+mn-lt"/>
            </a:endParaRPr>
          </a:p>
        </p:txBody>
      </p:sp>
      <p:sp>
        <p:nvSpPr>
          <p:cNvPr id="39" name="Textplatzhalt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4766073" y="2070498"/>
            <a:ext cx="469106" cy="117872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66AE319-457C-4191-9968-33299221D8EA}" type="datetime'''''''''1''''''''''''''8'''''''''">
              <a:rPr lang="en-GB" altLang="en-US" sz="600" b="1"/>
              <a:pPr algn="ctr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en-GB" sz="600" b="1" dirty="0">
              <a:latin typeface="+mn-lt"/>
              <a:sym typeface="+mn-lt"/>
            </a:endParaRPr>
          </a:p>
        </p:txBody>
      </p:sp>
      <p:sp>
        <p:nvSpPr>
          <p:cNvPr id="40" name="Textplatzhalt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5235179" y="2070498"/>
            <a:ext cx="470297" cy="117872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4CCF868-544E-412A-8D91-5118679E8B66}" type="datetime'''''''''''1''''''''''''''''''''''''''''9'''''">
              <a:rPr lang="en-GB" altLang="en-US" sz="600" b="1"/>
              <a:pPr algn="ctr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en-GB" sz="600" b="1" dirty="0">
              <a:latin typeface="+mn-lt"/>
              <a:sym typeface="+mn-lt"/>
            </a:endParaRPr>
          </a:p>
        </p:txBody>
      </p:sp>
      <p:sp>
        <p:nvSpPr>
          <p:cNvPr id="41" name="Textplatzhalt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5705476" y="2070498"/>
            <a:ext cx="470297" cy="117872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DF49279-8043-43F4-8DD7-FB377E76EC74}" type="datetime'''''''''''''''''''''''''2''''''''''''''''''0'''">
              <a:rPr lang="en-GB" altLang="en-US" sz="600" b="1"/>
              <a:pPr algn="ctr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GB" sz="600" b="1" dirty="0">
              <a:latin typeface="+mn-lt"/>
              <a:sym typeface="+mn-lt"/>
            </a:endParaRPr>
          </a:p>
        </p:txBody>
      </p:sp>
      <p:sp>
        <p:nvSpPr>
          <p:cNvPr id="42" name="Textplatzhalter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6175773" y="2070498"/>
            <a:ext cx="470297" cy="117872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18AB11D-F86A-4EAC-92CC-E224F1842655}" type="datetime'''''''''2''1'''''''''''''''''''">
              <a:rPr lang="en-GB" altLang="en-US" sz="600" b="1"/>
              <a:pPr algn="ctr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en-GB" sz="600" b="1" dirty="0">
              <a:latin typeface="+mn-lt"/>
              <a:sym typeface="+mn-lt"/>
            </a:endParaRPr>
          </a:p>
        </p:txBody>
      </p:sp>
      <p:sp>
        <p:nvSpPr>
          <p:cNvPr id="43" name="Textplatzhalter 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6646069" y="2070498"/>
            <a:ext cx="469106" cy="117872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710AFB2-4C55-4EA7-B4F8-F20DDFD9A51C}" type="datetime'''''22'''''''">
              <a:rPr lang="en-GB" altLang="en-US" sz="600" b="1"/>
              <a:pPr algn="ctr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en-GB" sz="600" b="1" dirty="0">
              <a:latin typeface="+mn-lt"/>
              <a:sym typeface="+mn-lt"/>
            </a:endParaRPr>
          </a:p>
        </p:txBody>
      </p:sp>
      <p:sp>
        <p:nvSpPr>
          <p:cNvPr id="44" name="Textplatzhalt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115176" y="2070498"/>
            <a:ext cx="470297" cy="117872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9DA3A76-B1E1-43F8-9146-D4565ADC4E30}" type="datetime'2''''''''''''3'''''''''''''''''''''">
              <a:rPr lang="en-GB" altLang="en-US" sz="600" b="1"/>
              <a:pPr algn="ctr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en-GB" sz="600" b="1" dirty="0">
              <a:latin typeface="+mn-lt"/>
              <a:sym typeface="+mn-lt"/>
            </a:endParaRPr>
          </a:p>
        </p:txBody>
      </p:sp>
      <p:sp>
        <p:nvSpPr>
          <p:cNvPr id="45" name="Textplatzhalter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585473" y="2070498"/>
            <a:ext cx="470297" cy="117872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17860" rIns="0" bIns="17860" numCol="1" spcCol="0" rtlCol="0" anchor="ctr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35B9563-913E-4B3D-8957-CB23D469E899}" type="datetime'''''''''''''''''''2''''''4'''''''''''''''''">
              <a:rPr lang="en-GB" altLang="en-US" sz="600" b="1"/>
              <a:pPr algn="ctr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en-GB" sz="600" b="1" dirty="0">
              <a:latin typeface="+mn-lt"/>
              <a:sym typeface="+mn-lt"/>
            </a:endParaRPr>
          </a:p>
        </p:txBody>
      </p:sp>
      <p:cxnSp>
        <p:nvCxnSpPr>
          <p:cNvPr id="46" name="Straight Connector 45"/>
          <p:cNvCxnSpPr/>
          <p:nvPr>
            <p:custDataLst>
              <p:tags r:id="rId39"/>
            </p:custDataLst>
          </p:nvPr>
        </p:nvCxnSpPr>
        <p:spPr bwMode="auto">
          <a:xfrm>
            <a:off x="323850" y="2188369"/>
            <a:ext cx="0" cy="333256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>
            <p:custDataLst>
              <p:tags r:id="rId40"/>
            </p:custDataLst>
          </p:nvPr>
        </p:nvCxnSpPr>
        <p:spPr bwMode="auto">
          <a:xfrm>
            <a:off x="3825479" y="2188369"/>
            <a:ext cx="0" cy="3332560"/>
          </a:xfrm>
          <a:prstGeom prst="line">
            <a:avLst/>
          </a:prstGeom>
          <a:ln w="317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41"/>
            </p:custDataLst>
          </p:nvPr>
        </p:nvCxnSpPr>
        <p:spPr bwMode="auto">
          <a:xfrm>
            <a:off x="4766072" y="2188369"/>
            <a:ext cx="0" cy="3332560"/>
          </a:xfrm>
          <a:prstGeom prst="line">
            <a:avLst/>
          </a:prstGeom>
          <a:ln w="317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>
            <p:custDataLst>
              <p:tags r:id="rId42"/>
            </p:custDataLst>
          </p:nvPr>
        </p:nvCxnSpPr>
        <p:spPr bwMode="auto">
          <a:xfrm>
            <a:off x="2415779" y="2188369"/>
            <a:ext cx="0" cy="3332560"/>
          </a:xfrm>
          <a:prstGeom prst="line">
            <a:avLst/>
          </a:prstGeom>
          <a:ln w="317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>
            <p:custDataLst>
              <p:tags r:id="rId43"/>
            </p:custDataLst>
          </p:nvPr>
        </p:nvCxnSpPr>
        <p:spPr bwMode="auto">
          <a:xfrm>
            <a:off x="2886075" y="2188369"/>
            <a:ext cx="0" cy="3332560"/>
          </a:xfrm>
          <a:prstGeom prst="line">
            <a:avLst/>
          </a:prstGeom>
          <a:ln w="317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44"/>
            </p:custDataLst>
          </p:nvPr>
        </p:nvCxnSpPr>
        <p:spPr bwMode="auto">
          <a:xfrm>
            <a:off x="3355181" y="2188369"/>
            <a:ext cx="0" cy="3332560"/>
          </a:xfrm>
          <a:prstGeom prst="line">
            <a:avLst/>
          </a:prstGeom>
          <a:ln w="317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>
            <p:custDataLst>
              <p:tags r:id="rId45"/>
            </p:custDataLst>
          </p:nvPr>
        </p:nvCxnSpPr>
        <p:spPr bwMode="auto">
          <a:xfrm>
            <a:off x="4295775" y="2188369"/>
            <a:ext cx="0" cy="3332560"/>
          </a:xfrm>
          <a:prstGeom prst="line">
            <a:avLst/>
          </a:prstGeom>
          <a:ln w="317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46"/>
            </p:custDataLst>
          </p:nvPr>
        </p:nvCxnSpPr>
        <p:spPr bwMode="auto">
          <a:xfrm>
            <a:off x="5235179" y="2188369"/>
            <a:ext cx="0" cy="3332560"/>
          </a:xfrm>
          <a:prstGeom prst="line">
            <a:avLst/>
          </a:prstGeom>
          <a:ln w="317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47"/>
            </p:custDataLst>
          </p:nvPr>
        </p:nvCxnSpPr>
        <p:spPr bwMode="auto">
          <a:xfrm>
            <a:off x="5705475" y="2188369"/>
            <a:ext cx="0" cy="3332560"/>
          </a:xfrm>
          <a:prstGeom prst="line">
            <a:avLst/>
          </a:prstGeom>
          <a:ln w="317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48"/>
            </p:custDataLst>
          </p:nvPr>
        </p:nvCxnSpPr>
        <p:spPr bwMode="auto">
          <a:xfrm>
            <a:off x="6175772" y="2188369"/>
            <a:ext cx="0" cy="3332560"/>
          </a:xfrm>
          <a:prstGeom prst="line">
            <a:avLst/>
          </a:prstGeom>
          <a:ln w="317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49"/>
            </p:custDataLst>
          </p:nvPr>
        </p:nvCxnSpPr>
        <p:spPr bwMode="auto">
          <a:xfrm>
            <a:off x="6646069" y="2188369"/>
            <a:ext cx="0" cy="3332560"/>
          </a:xfrm>
          <a:prstGeom prst="line">
            <a:avLst/>
          </a:prstGeom>
          <a:ln w="317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50"/>
            </p:custDataLst>
          </p:nvPr>
        </p:nvCxnSpPr>
        <p:spPr bwMode="auto">
          <a:xfrm>
            <a:off x="7115175" y="2188369"/>
            <a:ext cx="0" cy="3332560"/>
          </a:xfrm>
          <a:prstGeom prst="line">
            <a:avLst/>
          </a:prstGeom>
          <a:ln w="317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51"/>
            </p:custDataLst>
          </p:nvPr>
        </p:nvCxnSpPr>
        <p:spPr bwMode="auto">
          <a:xfrm>
            <a:off x="7585472" y="2188369"/>
            <a:ext cx="0" cy="3332560"/>
          </a:xfrm>
          <a:prstGeom prst="line">
            <a:avLst/>
          </a:prstGeom>
          <a:ln w="3175">
            <a:solidFill>
              <a:schemeClr val="tx1"/>
            </a:solidFill>
            <a:prstDash val="solid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52"/>
            </p:custDataLst>
          </p:nvPr>
        </p:nvCxnSpPr>
        <p:spPr bwMode="auto">
          <a:xfrm>
            <a:off x="1945481" y="2188369"/>
            <a:ext cx="0" cy="333256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53"/>
            </p:custDataLst>
          </p:nvPr>
        </p:nvCxnSpPr>
        <p:spPr bwMode="auto">
          <a:xfrm>
            <a:off x="8055769" y="2188369"/>
            <a:ext cx="0" cy="333256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>
            <p:custDataLst>
              <p:tags r:id="rId54"/>
            </p:custDataLst>
          </p:nvPr>
        </p:nvCxnSpPr>
        <p:spPr bwMode="auto">
          <a:xfrm>
            <a:off x="8807054" y="2188369"/>
            <a:ext cx="0" cy="333256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>
            <p:custDataLst>
              <p:tags r:id="rId55"/>
            </p:custDataLst>
          </p:nvPr>
        </p:nvCxnSpPr>
        <p:spPr bwMode="auto">
          <a:xfrm>
            <a:off x="323850" y="4282679"/>
            <a:ext cx="8483204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56"/>
            </p:custDataLst>
          </p:nvPr>
        </p:nvCxnSpPr>
        <p:spPr bwMode="gray">
          <a:xfrm>
            <a:off x="8055769" y="2188369"/>
            <a:ext cx="0" cy="3332560"/>
          </a:xfrm>
          <a:prstGeom prst="line">
            <a:avLst/>
          </a:prstGeom>
          <a:ln w="19050">
            <a:solidFill>
              <a:schemeClr val="accent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>
            <p:custDataLst>
              <p:tags r:id="rId57"/>
            </p:custDataLst>
          </p:nvPr>
        </p:nvCxnSpPr>
        <p:spPr bwMode="auto">
          <a:xfrm>
            <a:off x="323850" y="5520929"/>
            <a:ext cx="8483204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58"/>
            </p:custDataLst>
          </p:nvPr>
        </p:nvCxnSpPr>
        <p:spPr bwMode="auto">
          <a:xfrm>
            <a:off x="323850" y="2188369"/>
            <a:ext cx="8483204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Rectangle 65"/>
          <p:cNvSpPr/>
          <p:nvPr>
            <p:custDataLst>
              <p:tags r:id="rId59"/>
            </p:custDataLst>
          </p:nvPr>
        </p:nvSpPr>
        <p:spPr bwMode="auto">
          <a:xfrm>
            <a:off x="2886075" y="2726531"/>
            <a:ext cx="657225" cy="47625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67" name="Rectangle 66"/>
          <p:cNvSpPr/>
          <p:nvPr>
            <p:custDataLst>
              <p:tags r:id="rId60"/>
            </p:custDataLst>
          </p:nvPr>
        </p:nvSpPr>
        <p:spPr bwMode="auto">
          <a:xfrm>
            <a:off x="2415779" y="2430066"/>
            <a:ext cx="845344" cy="47625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68" name="Rectangle 67"/>
          <p:cNvSpPr/>
          <p:nvPr>
            <p:custDataLst>
              <p:tags r:id="rId61"/>
            </p:custDataLst>
          </p:nvPr>
        </p:nvSpPr>
        <p:spPr bwMode="auto">
          <a:xfrm>
            <a:off x="2039542" y="2244329"/>
            <a:ext cx="1221581" cy="47625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69" name="Rectangle 68"/>
          <p:cNvSpPr/>
          <p:nvPr>
            <p:custDataLst>
              <p:tags r:id="rId62"/>
            </p:custDataLst>
          </p:nvPr>
        </p:nvSpPr>
        <p:spPr bwMode="auto">
          <a:xfrm>
            <a:off x="6175772" y="4338638"/>
            <a:ext cx="939404" cy="47625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70" name="Rectangle 69"/>
          <p:cNvSpPr/>
          <p:nvPr>
            <p:custDataLst>
              <p:tags r:id="rId63"/>
            </p:custDataLst>
          </p:nvPr>
        </p:nvSpPr>
        <p:spPr bwMode="gray">
          <a:xfrm>
            <a:off x="3637360" y="2901554"/>
            <a:ext cx="658416" cy="47625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71" name="Rectangle 70"/>
          <p:cNvSpPr/>
          <p:nvPr>
            <p:custDataLst>
              <p:tags r:id="rId64"/>
            </p:custDataLst>
          </p:nvPr>
        </p:nvSpPr>
        <p:spPr bwMode="gray">
          <a:xfrm>
            <a:off x="4766073" y="3561160"/>
            <a:ext cx="469106" cy="47625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72" name="Rectangle 71"/>
          <p:cNvSpPr/>
          <p:nvPr>
            <p:custDataLst>
              <p:tags r:id="rId65"/>
            </p:custDataLst>
          </p:nvPr>
        </p:nvSpPr>
        <p:spPr bwMode="gray">
          <a:xfrm>
            <a:off x="4766073" y="3910013"/>
            <a:ext cx="469106" cy="47625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73" name="Rectangle 72"/>
          <p:cNvSpPr/>
          <p:nvPr>
            <p:custDataLst>
              <p:tags r:id="rId66"/>
            </p:custDataLst>
          </p:nvPr>
        </p:nvSpPr>
        <p:spPr bwMode="gray">
          <a:xfrm>
            <a:off x="6646069" y="4650581"/>
            <a:ext cx="469106" cy="47625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74" name="Rectangle 73"/>
          <p:cNvSpPr/>
          <p:nvPr>
            <p:custDataLst>
              <p:tags r:id="rId67"/>
            </p:custDataLst>
          </p:nvPr>
        </p:nvSpPr>
        <p:spPr bwMode="gray">
          <a:xfrm>
            <a:off x="4766073" y="4177904"/>
            <a:ext cx="469106" cy="47625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75" name="Rectangle 74"/>
          <p:cNvSpPr/>
          <p:nvPr>
            <p:custDataLst>
              <p:tags r:id="rId68"/>
            </p:custDataLst>
          </p:nvPr>
        </p:nvSpPr>
        <p:spPr bwMode="gray">
          <a:xfrm>
            <a:off x="4295775" y="3289697"/>
            <a:ext cx="939404" cy="47625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76" name="Rectangle 75"/>
          <p:cNvSpPr/>
          <p:nvPr>
            <p:custDataLst>
              <p:tags r:id="rId69"/>
            </p:custDataLst>
          </p:nvPr>
        </p:nvSpPr>
        <p:spPr bwMode="gray">
          <a:xfrm>
            <a:off x="6646069" y="4864894"/>
            <a:ext cx="469106" cy="47625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77" name="Rectangle 76"/>
          <p:cNvSpPr/>
          <p:nvPr>
            <p:custDataLst>
              <p:tags r:id="rId70"/>
            </p:custDataLst>
          </p:nvPr>
        </p:nvSpPr>
        <p:spPr bwMode="gray">
          <a:xfrm>
            <a:off x="6646069" y="4513660"/>
            <a:ext cx="469106" cy="47625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78" name="Rectangle 77"/>
          <p:cNvSpPr/>
          <p:nvPr>
            <p:custDataLst>
              <p:tags r:id="rId71"/>
            </p:custDataLst>
          </p:nvPr>
        </p:nvSpPr>
        <p:spPr bwMode="gray">
          <a:xfrm>
            <a:off x="4766073" y="3424238"/>
            <a:ext cx="469106" cy="47625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79" name="Rectangle 78"/>
          <p:cNvSpPr/>
          <p:nvPr>
            <p:custDataLst>
              <p:tags r:id="rId72"/>
            </p:custDataLst>
          </p:nvPr>
        </p:nvSpPr>
        <p:spPr bwMode="gray">
          <a:xfrm>
            <a:off x="6646069" y="4998244"/>
            <a:ext cx="469106" cy="47625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80" name="Rectangle 79"/>
          <p:cNvSpPr/>
          <p:nvPr>
            <p:custDataLst>
              <p:tags r:id="rId73"/>
            </p:custDataLst>
          </p:nvPr>
        </p:nvSpPr>
        <p:spPr bwMode="gray">
          <a:xfrm>
            <a:off x="6646069" y="5132785"/>
            <a:ext cx="469106" cy="47625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81" name="Rectangle 80"/>
          <p:cNvSpPr/>
          <p:nvPr>
            <p:custDataLst>
              <p:tags r:id="rId74"/>
            </p:custDataLst>
          </p:nvPr>
        </p:nvSpPr>
        <p:spPr bwMode="gray">
          <a:xfrm>
            <a:off x="3637360" y="3076575"/>
            <a:ext cx="1128713" cy="47625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82" name="Rectangle 81"/>
          <p:cNvSpPr/>
          <p:nvPr>
            <p:custDataLst>
              <p:tags r:id="rId75"/>
            </p:custDataLst>
          </p:nvPr>
        </p:nvSpPr>
        <p:spPr bwMode="gray">
          <a:xfrm>
            <a:off x="6646069" y="5267325"/>
            <a:ext cx="469106" cy="47625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83" name="Rectangle 82"/>
          <p:cNvSpPr/>
          <p:nvPr>
            <p:custDataLst>
              <p:tags r:id="rId76"/>
            </p:custDataLst>
          </p:nvPr>
        </p:nvSpPr>
        <p:spPr bwMode="gray">
          <a:xfrm>
            <a:off x="4766073" y="3775472"/>
            <a:ext cx="469106" cy="47625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84" name="Rectangle 83"/>
          <p:cNvSpPr/>
          <p:nvPr>
            <p:custDataLst>
              <p:tags r:id="rId77"/>
            </p:custDataLst>
          </p:nvPr>
        </p:nvSpPr>
        <p:spPr bwMode="gray">
          <a:xfrm>
            <a:off x="4766073" y="4043363"/>
            <a:ext cx="469106" cy="47625"/>
          </a:xfrm>
          <a:prstGeom prst="rect">
            <a:avLst/>
          </a:prstGeom>
          <a:solidFill>
            <a:schemeClr val="tx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85" name="Right Bracket 84"/>
          <p:cNvSpPr/>
          <p:nvPr>
            <p:custDataLst>
              <p:tags r:id="rId78"/>
            </p:custDataLst>
          </p:nvPr>
        </p:nvSpPr>
        <p:spPr bwMode="auto">
          <a:xfrm rot="5400000">
            <a:off x="5899547" y="4882754"/>
            <a:ext cx="80963" cy="1410891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86" name="Isosceles Triangle 85"/>
          <p:cNvSpPr/>
          <p:nvPr>
            <p:custDataLst>
              <p:tags r:id="rId79"/>
            </p:custDataLst>
          </p:nvPr>
        </p:nvSpPr>
        <p:spPr bwMode="auto">
          <a:xfrm rot="10800000">
            <a:off x="5860257" y="5629275"/>
            <a:ext cx="159544" cy="80963"/>
          </a:xfrm>
          <a:prstGeom prst="triangle">
            <a:avLst/>
          </a:prstGeom>
          <a:solidFill>
            <a:schemeClr val="tx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87" name="Right Bracket 86"/>
          <p:cNvSpPr/>
          <p:nvPr>
            <p:custDataLst>
              <p:tags r:id="rId80"/>
            </p:custDataLst>
          </p:nvPr>
        </p:nvSpPr>
        <p:spPr bwMode="auto">
          <a:xfrm rot="5400000">
            <a:off x="7497366" y="5164932"/>
            <a:ext cx="80963" cy="84653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88" name="Isosceles Triangle 87"/>
          <p:cNvSpPr/>
          <p:nvPr>
            <p:custDataLst>
              <p:tags r:id="rId81"/>
            </p:custDataLst>
          </p:nvPr>
        </p:nvSpPr>
        <p:spPr bwMode="auto">
          <a:xfrm rot="10800000">
            <a:off x="7458075" y="5629275"/>
            <a:ext cx="159544" cy="80963"/>
          </a:xfrm>
          <a:prstGeom prst="triangle">
            <a:avLst/>
          </a:prstGeom>
          <a:solidFill>
            <a:schemeClr val="tx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89" name="Diamond 88"/>
          <p:cNvSpPr/>
          <p:nvPr>
            <p:custDataLst>
              <p:tags r:id="rId82"/>
            </p:custDataLst>
          </p:nvPr>
        </p:nvSpPr>
        <p:spPr bwMode="gray">
          <a:xfrm>
            <a:off x="8017669" y="5253038"/>
            <a:ext cx="76200" cy="76200"/>
          </a:xfrm>
          <a:prstGeom prst="diamond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90" name="Diamond 89"/>
          <p:cNvSpPr/>
          <p:nvPr>
            <p:custDataLst>
              <p:tags r:id="rId83"/>
            </p:custDataLst>
          </p:nvPr>
        </p:nvSpPr>
        <p:spPr bwMode="gray">
          <a:xfrm>
            <a:off x="3223022" y="2415779"/>
            <a:ext cx="76200" cy="76200"/>
          </a:xfrm>
          <a:prstGeom prst="diamond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91" name="Diamond 90"/>
          <p:cNvSpPr/>
          <p:nvPr>
            <p:custDataLst>
              <p:tags r:id="rId84"/>
            </p:custDataLst>
          </p:nvPr>
        </p:nvSpPr>
        <p:spPr bwMode="gray">
          <a:xfrm>
            <a:off x="5197079" y="4163616"/>
            <a:ext cx="76200" cy="76200"/>
          </a:xfrm>
          <a:prstGeom prst="diamond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92" name="Diamond 91"/>
          <p:cNvSpPr/>
          <p:nvPr>
            <p:custDataLst>
              <p:tags r:id="rId85"/>
            </p:custDataLst>
          </p:nvPr>
        </p:nvSpPr>
        <p:spPr bwMode="gray">
          <a:xfrm>
            <a:off x="3223022" y="2230041"/>
            <a:ext cx="76200" cy="76200"/>
          </a:xfrm>
          <a:prstGeom prst="diamond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93" name="Diamond 92"/>
          <p:cNvSpPr/>
          <p:nvPr>
            <p:custDataLst>
              <p:tags r:id="rId86"/>
            </p:custDataLst>
          </p:nvPr>
        </p:nvSpPr>
        <p:spPr bwMode="gray">
          <a:xfrm>
            <a:off x="7077075" y="5253038"/>
            <a:ext cx="76200" cy="76200"/>
          </a:xfrm>
          <a:prstGeom prst="diamond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94" name="Diamond 93"/>
          <p:cNvSpPr/>
          <p:nvPr>
            <p:custDataLst>
              <p:tags r:id="rId87"/>
            </p:custDataLst>
          </p:nvPr>
        </p:nvSpPr>
        <p:spPr bwMode="gray">
          <a:xfrm>
            <a:off x="3505200" y="2712244"/>
            <a:ext cx="76200" cy="76200"/>
          </a:xfrm>
          <a:prstGeom prst="diamond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95" name="Diamond 94"/>
          <p:cNvSpPr/>
          <p:nvPr>
            <p:custDataLst>
              <p:tags r:id="rId88"/>
            </p:custDataLst>
          </p:nvPr>
        </p:nvSpPr>
        <p:spPr bwMode="gray">
          <a:xfrm>
            <a:off x="4727972" y="3062288"/>
            <a:ext cx="76200" cy="76200"/>
          </a:xfrm>
          <a:prstGeom prst="diamond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96" name="Diamond 95"/>
          <p:cNvSpPr/>
          <p:nvPr>
            <p:custDataLst>
              <p:tags r:id="rId89"/>
            </p:custDataLst>
          </p:nvPr>
        </p:nvSpPr>
        <p:spPr bwMode="gray">
          <a:xfrm>
            <a:off x="7077075" y="4324350"/>
            <a:ext cx="76200" cy="76200"/>
          </a:xfrm>
          <a:prstGeom prst="diamond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97" name="Diamond 96"/>
          <p:cNvSpPr/>
          <p:nvPr>
            <p:custDataLst>
              <p:tags r:id="rId90"/>
            </p:custDataLst>
          </p:nvPr>
        </p:nvSpPr>
        <p:spPr bwMode="gray">
          <a:xfrm>
            <a:off x="4257675" y="2887266"/>
            <a:ext cx="76200" cy="76200"/>
          </a:xfrm>
          <a:prstGeom prst="diamond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125"/>
          </a:p>
        </p:txBody>
      </p:sp>
      <p:sp>
        <p:nvSpPr>
          <p:cNvPr id="98" name="Textplatzhalter 2"/>
          <p:cNvSpPr>
            <a:spLocks noGrp="1"/>
          </p:cNvSpPr>
          <p:nvPr>
            <p:custDataLst>
              <p:tags r:id="rId91"/>
            </p:custDataLst>
          </p:nvPr>
        </p:nvSpPr>
        <p:spPr bwMode="gray">
          <a:xfrm>
            <a:off x="7008019" y="4417219"/>
            <a:ext cx="214313" cy="82154"/>
          </a:xfrm>
          <a:prstGeom prst="rect">
            <a:avLst/>
          </a:prstGeom>
          <a:solidFill>
            <a:schemeClr val="tx2"/>
          </a:solidFill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E253F47-AE73-4ACA-90C1-D126E65644F8}" type="datetime'''4''''''''.''6''''''''.''''1''''''8'''''''">
              <a:rPr lang="en-GB" altLang="en-US" sz="60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4.6.18</a:t>
            </a:fld>
            <a:endParaRPr lang="en-GB" altLang="en-US" sz="6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99" name="Textplatzhalter 2"/>
          <p:cNvSpPr>
            <a:spLocks noGrp="1"/>
          </p:cNvSpPr>
          <p:nvPr>
            <p:custDataLst>
              <p:tags r:id="rId92"/>
            </p:custDataLst>
          </p:nvPr>
        </p:nvSpPr>
        <p:spPr bwMode="gray">
          <a:xfrm>
            <a:off x="8086725" y="4321969"/>
            <a:ext cx="236935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600" dirty="0">
                <a:solidFill>
                  <a:schemeClr val="bg1"/>
                </a:solidFill>
              </a:rPr>
              <a:t>TM BU</a:t>
            </a:r>
            <a:endParaRPr lang="en-GB" sz="6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100" name="Textplatzhalter 2"/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354806" y="4496991"/>
            <a:ext cx="904875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1A87D26-8C08-4F5D-9944-A93B2C037A4A}" type="datetime'Prep. t''es''t'' da''''''ta in''cl.'''' ''t''''e''''''sting'">
              <a:rPr lang="en-GB" altLang="en-US" sz="600"/>
              <a:pPr>
                <a:spcBef>
                  <a:spcPct val="0"/>
                </a:spcBef>
                <a:spcAft>
                  <a:spcPct val="0"/>
                </a:spcAft>
              </a:pPr>
              <a:t>Prep. test data incl. testing</a:t>
            </a:fld>
            <a:endParaRPr lang="en-GB" sz="600" dirty="0">
              <a:latin typeface="+mn-lt"/>
              <a:sym typeface="+mn-lt"/>
            </a:endParaRPr>
          </a:p>
        </p:txBody>
      </p:sp>
      <p:sp>
        <p:nvSpPr>
          <p:cNvPr id="101" name="Textplatzhalter 2"/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8086726" y="4496991"/>
            <a:ext cx="326231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600" dirty="0"/>
              <a:t>TM BU/IT</a:t>
            </a:r>
            <a:endParaRPr lang="en-GB" sz="600" dirty="0">
              <a:latin typeface="+mn-lt"/>
              <a:sym typeface="+mn-lt"/>
            </a:endParaRPr>
          </a:p>
        </p:txBody>
      </p:sp>
      <p:sp>
        <p:nvSpPr>
          <p:cNvPr id="102" name="Textplatzhalter 2"/>
          <p:cNvSpPr>
            <a:spLocks noGrp="1"/>
          </p:cNvSpPr>
          <p:nvPr>
            <p:custDataLst>
              <p:tags r:id="rId95"/>
            </p:custDataLst>
          </p:nvPr>
        </p:nvSpPr>
        <p:spPr bwMode="gray">
          <a:xfrm>
            <a:off x="354806" y="4321969"/>
            <a:ext cx="1204913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BFDBAF6-60C9-4DC9-9FEA-7BF5938A9DD3}" type="datetime'C''onsoli''dat''''e test'' scenarios for'''''' ''''U''AT '''''">
              <a:rPr lang="en-GB" altLang="en-US" sz="60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Consolidate test scenarios for UAT </a:t>
            </a:fld>
            <a:endParaRPr lang="en-GB" sz="6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103" name="Textplatzhalter 2"/>
          <p:cNvSpPr>
            <a:spLocks noGrp="1"/>
          </p:cNvSpPr>
          <p:nvPr>
            <p:custDataLst>
              <p:tags r:id="rId96"/>
            </p:custDataLst>
          </p:nvPr>
        </p:nvSpPr>
        <p:spPr bwMode="auto">
          <a:xfrm>
            <a:off x="354807" y="4631531"/>
            <a:ext cx="1050131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1578F31-99C0-4135-B305-B6264533B391}" type="datetime'Ch''e''ck''''i''''ng ''stoc''k in'''''''''' A''FS'' &amp; E''W''M'">
              <a:rPr lang="en-GB" altLang="en-US" sz="600"/>
              <a:pPr>
                <a:spcBef>
                  <a:spcPct val="0"/>
                </a:spcBef>
                <a:spcAft>
                  <a:spcPct val="0"/>
                </a:spcAft>
              </a:pPr>
              <a:t>Checking stock in AFS &amp; EWM</a:t>
            </a:fld>
            <a:endParaRPr lang="en-GB" sz="600" dirty="0">
              <a:latin typeface="+mn-lt"/>
              <a:sym typeface="+mn-lt"/>
            </a:endParaRPr>
          </a:p>
        </p:txBody>
      </p:sp>
      <p:sp>
        <p:nvSpPr>
          <p:cNvPr id="104" name="Textplatzhalter 2"/>
          <p:cNvSpPr>
            <a:spLocks noGrp="1"/>
          </p:cNvSpPr>
          <p:nvPr>
            <p:custDataLst>
              <p:tags r:id="rId97"/>
            </p:custDataLst>
          </p:nvPr>
        </p:nvSpPr>
        <p:spPr bwMode="auto">
          <a:xfrm>
            <a:off x="8086725" y="4631532"/>
            <a:ext cx="428625" cy="164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600" dirty="0"/>
              <a:t>TM IT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ym typeface="+mn-lt"/>
              </a:rPr>
              <a:t>TM </a:t>
            </a:r>
            <a:r>
              <a:rPr lang="de-DE" sz="600" dirty="0" err="1">
                <a:sym typeface="+mn-lt"/>
              </a:rPr>
              <a:t>Logistics</a:t>
            </a:r>
            <a:endParaRPr lang="en-GB" sz="600" dirty="0">
              <a:sym typeface="+mn-lt"/>
            </a:endParaRPr>
          </a:p>
        </p:txBody>
      </p:sp>
      <p:sp>
        <p:nvSpPr>
          <p:cNvPr id="105" name="Textplatzhalter 2"/>
          <p:cNvSpPr>
            <a:spLocks noGrp="1"/>
          </p:cNvSpPr>
          <p:nvPr>
            <p:custDataLst>
              <p:tags r:id="rId98"/>
            </p:custDataLst>
          </p:nvPr>
        </p:nvSpPr>
        <p:spPr bwMode="auto">
          <a:xfrm>
            <a:off x="4637485" y="3155156"/>
            <a:ext cx="257175" cy="82154"/>
          </a:xfrm>
          <a:prstGeom prst="rect">
            <a:avLst/>
          </a:prstGeom>
          <a:solidFill>
            <a:schemeClr val="accent6"/>
          </a:solidFill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FE1240A-C378-454B-87C9-2566E9D28C85}" type="datetime'''2''7''''''''.''4''.''''''''''''1''''''''''''''''''''8'">
              <a:rPr lang="en-GB" altLang="en-US" sz="600"/>
              <a:pPr>
                <a:spcBef>
                  <a:spcPct val="0"/>
                </a:spcBef>
                <a:spcAft>
                  <a:spcPct val="0"/>
                </a:spcAft>
              </a:pPr>
              <a:t>27.4.18</a:t>
            </a:fld>
            <a:endParaRPr lang="en-GB" altLang="en-US" sz="600" dirty="0">
              <a:latin typeface="+mn-lt"/>
              <a:sym typeface="+mn-lt"/>
            </a:endParaRPr>
          </a:p>
        </p:txBody>
      </p:sp>
      <p:sp>
        <p:nvSpPr>
          <p:cNvPr id="106" name="Textplatzhalter 2"/>
          <p:cNvSpPr>
            <a:spLocks noGrp="1"/>
          </p:cNvSpPr>
          <p:nvPr>
            <p:custDataLst>
              <p:tags r:id="rId99"/>
            </p:custDataLst>
          </p:nvPr>
        </p:nvSpPr>
        <p:spPr bwMode="auto">
          <a:xfrm>
            <a:off x="8086725" y="4848225"/>
            <a:ext cx="236935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600" dirty="0"/>
              <a:t>TM BU</a:t>
            </a:r>
            <a:endParaRPr lang="en-GB" sz="600" dirty="0">
              <a:sym typeface="+mn-lt"/>
            </a:endParaRPr>
          </a:p>
        </p:txBody>
      </p:sp>
      <p:sp>
        <p:nvSpPr>
          <p:cNvPr id="107" name="Textplatzhalter 2"/>
          <p:cNvSpPr>
            <a:spLocks noGrp="1"/>
          </p:cNvSpPr>
          <p:nvPr>
            <p:custDataLst>
              <p:tags r:id="rId100"/>
            </p:custDataLst>
          </p:nvPr>
        </p:nvSpPr>
        <p:spPr bwMode="auto">
          <a:xfrm>
            <a:off x="354807" y="4848225"/>
            <a:ext cx="1559719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6F7D663-8491-433F-9822-ACC4D4D909D5}" type="datetime'C''heck and cr''eate re''g''isterd customers (C''RM)'' '">
              <a:rPr lang="en-GB" altLang="en-US" sz="600"/>
              <a:pPr>
                <a:spcBef>
                  <a:spcPct val="0"/>
                </a:spcBef>
                <a:spcAft>
                  <a:spcPct val="0"/>
                </a:spcAft>
              </a:pPr>
              <a:t>Check and create registerd customers (CRM) </a:t>
            </a:fld>
            <a:endParaRPr lang="en-GB" sz="600" dirty="0">
              <a:latin typeface="+mn-lt"/>
              <a:sym typeface="+mn-lt"/>
            </a:endParaRPr>
          </a:p>
        </p:txBody>
      </p:sp>
      <p:sp>
        <p:nvSpPr>
          <p:cNvPr id="108" name="Textplatzhalter 2"/>
          <p:cNvSpPr>
            <a:spLocks noGrp="1"/>
          </p:cNvSpPr>
          <p:nvPr>
            <p:custDataLst>
              <p:tags r:id="rId101"/>
            </p:custDataLst>
          </p:nvPr>
        </p:nvSpPr>
        <p:spPr bwMode="auto">
          <a:xfrm>
            <a:off x="354807" y="3057525"/>
            <a:ext cx="597694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8070A2A9-9304-4A70-B312-BD7EF9A69FA2}" type="datetime'T''e''''''''''''s''t'' ''''''d''a''t''a'''''' r''''eq''uest'">
              <a:rPr lang="en-GB" altLang="en-US" sz="600"/>
              <a:pPr>
                <a:spcBef>
                  <a:spcPct val="0"/>
                </a:spcBef>
                <a:spcAft>
                  <a:spcPct val="0"/>
                </a:spcAft>
              </a:pPr>
              <a:t>Test data request</a:t>
            </a:fld>
            <a:endParaRPr lang="en-GB" sz="600" dirty="0">
              <a:latin typeface="+mn-lt"/>
              <a:sym typeface="+mn-lt"/>
            </a:endParaRPr>
          </a:p>
        </p:txBody>
      </p:sp>
      <p:sp>
        <p:nvSpPr>
          <p:cNvPr id="109" name="Textplatzhalter 2"/>
          <p:cNvSpPr>
            <a:spLocks noGrp="1"/>
          </p:cNvSpPr>
          <p:nvPr>
            <p:custDataLst>
              <p:tags r:id="rId102"/>
            </p:custDataLst>
          </p:nvPr>
        </p:nvSpPr>
        <p:spPr bwMode="gray">
          <a:xfrm>
            <a:off x="354806" y="2411016"/>
            <a:ext cx="1006079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8EC2712-018C-44AA-AF2A-937454E1E09D}" type="datetime'Check'' ''''pl''a''n''''n''''ed rel''''e''a''''s''e ''topics'">
              <a:rPr lang="en-GB" altLang="en-US" sz="60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Check planned release topics</a:t>
            </a:fld>
            <a:endParaRPr lang="en-GB" sz="6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110" name="Textplatzhalter 2"/>
          <p:cNvSpPr>
            <a:spLocks noGrp="1"/>
          </p:cNvSpPr>
          <p:nvPr>
            <p:custDataLst>
              <p:tags r:id="rId103"/>
            </p:custDataLst>
          </p:nvPr>
        </p:nvSpPr>
        <p:spPr bwMode="auto">
          <a:xfrm>
            <a:off x="8086725" y="3542110"/>
            <a:ext cx="428625" cy="164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600" dirty="0"/>
              <a:t>TM IT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latin typeface="+mn-lt"/>
                <a:sym typeface="+mn-lt"/>
              </a:rPr>
              <a:t>TM </a:t>
            </a:r>
            <a:r>
              <a:rPr lang="de-DE" sz="600" dirty="0" err="1">
                <a:latin typeface="+mn-lt"/>
                <a:sym typeface="+mn-lt"/>
              </a:rPr>
              <a:t>Logistics</a:t>
            </a:r>
            <a:endParaRPr lang="en-GB" sz="600" dirty="0">
              <a:latin typeface="+mn-lt"/>
              <a:sym typeface="+mn-lt"/>
            </a:endParaRPr>
          </a:p>
        </p:txBody>
      </p:sp>
      <p:sp>
        <p:nvSpPr>
          <p:cNvPr id="111" name="Textplatzhalter 2"/>
          <p:cNvSpPr>
            <a:spLocks noGrp="1"/>
          </p:cNvSpPr>
          <p:nvPr>
            <p:custDataLst>
              <p:tags r:id="rId104"/>
            </p:custDataLst>
          </p:nvPr>
        </p:nvSpPr>
        <p:spPr bwMode="auto">
          <a:xfrm>
            <a:off x="354807" y="4981575"/>
            <a:ext cx="1069181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7FC075E-FC39-469A-95EE-3AE23A8F2FF6}" type="datetime'''Ch''e''ck c''''''oup''o''n''s f''o''r all countr''''''''ies'">
              <a:rPr lang="en-GB" altLang="en-US" sz="600"/>
              <a:pPr>
                <a:spcBef>
                  <a:spcPct val="0"/>
                </a:spcBef>
                <a:spcAft>
                  <a:spcPct val="0"/>
                </a:spcAft>
              </a:pPr>
              <a:t>Check coupons for all countries</a:t>
            </a:fld>
            <a:endParaRPr lang="en-GB" sz="600" dirty="0">
              <a:latin typeface="+mn-lt"/>
              <a:sym typeface="+mn-lt"/>
            </a:endParaRPr>
          </a:p>
        </p:txBody>
      </p:sp>
      <p:sp>
        <p:nvSpPr>
          <p:cNvPr id="112" name="Textplatzhalter 2"/>
          <p:cNvSpPr>
            <a:spLocks noGrp="1"/>
          </p:cNvSpPr>
          <p:nvPr>
            <p:custDataLst>
              <p:tags r:id="rId105"/>
            </p:custDataLst>
          </p:nvPr>
        </p:nvSpPr>
        <p:spPr bwMode="auto">
          <a:xfrm>
            <a:off x="8086725" y="4981575"/>
            <a:ext cx="236935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600" dirty="0"/>
              <a:t>TM BU</a:t>
            </a:r>
            <a:endParaRPr lang="en-GB" sz="600" dirty="0">
              <a:sym typeface="+mn-lt"/>
            </a:endParaRPr>
          </a:p>
        </p:txBody>
      </p:sp>
      <p:sp>
        <p:nvSpPr>
          <p:cNvPr id="113" name="Textplatzhalter 2"/>
          <p:cNvSpPr>
            <a:spLocks noGrp="1"/>
          </p:cNvSpPr>
          <p:nvPr>
            <p:custDataLst>
              <p:tags r:id="rId106"/>
            </p:custDataLst>
          </p:nvPr>
        </p:nvSpPr>
        <p:spPr bwMode="auto">
          <a:xfrm>
            <a:off x="354806" y="3407569"/>
            <a:ext cx="904875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EE089BB-5EE3-4E34-B190-C8509F1E7451}" type="datetime'Prep. t''''''est ''''dat''a'' ''''in''''cl. te''''stin''g'''">
              <a:rPr lang="en-GB" altLang="en-US" sz="600"/>
              <a:pPr>
                <a:spcBef>
                  <a:spcPct val="0"/>
                </a:spcBef>
                <a:spcAft>
                  <a:spcPct val="0"/>
                </a:spcAft>
              </a:pPr>
              <a:t>Prep. test data incl. testing</a:t>
            </a:fld>
            <a:endParaRPr lang="en-GB" sz="600" dirty="0">
              <a:latin typeface="+mn-lt"/>
              <a:sym typeface="+mn-lt"/>
            </a:endParaRPr>
          </a:p>
        </p:txBody>
      </p:sp>
      <p:sp>
        <p:nvSpPr>
          <p:cNvPr id="114" name="Textplatzhalter 2"/>
          <p:cNvSpPr>
            <a:spLocks noGrp="1"/>
          </p:cNvSpPr>
          <p:nvPr>
            <p:custDataLst>
              <p:tags r:id="rId107"/>
            </p:custDataLst>
          </p:nvPr>
        </p:nvSpPr>
        <p:spPr bwMode="gray">
          <a:xfrm>
            <a:off x="8086725" y="2227660"/>
            <a:ext cx="429816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600" dirty="0">
                <a:solidFill>
                  <a:schemeClr val="bg1"/>
                </a:solidFill>
                <a:latin typeface="+mn-lt"/>
                <a:sym typeface="+mn-lt"/>
              </a:rPr>
              <a:t>(Sub) PL BU</a:t>
            </a:r>
            <a:endParaRPr lang="en-GB" sz="6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115" name="Textplatzhalter 2"/>
          <p:cNvSpPr>
            <a:spLocks noGrp="1"/>
          </p:cNvSpPr>
          <p:nvPr>
            <p:custDataLst>
              <p:tags r:id="rId108"/>
            </p:custDataLst>
          </p:nvPr>
        </p:nvSpPr>
        <p:spPr bwMode="auto">
          <a:xfrm>
            <a:off x="354806" y="5116116"/>
            <a:ext cx="953691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C7C8240-557B-4851-9EA8-5ACC182CBF25}" type="datetime'Cr''''e''a''te'' promot''ion ''''''''p''r''''ice'' ''SA''''P'">
              <a:rPr lang="en-GB" altLang="en-US" sz="600"/>
              <a:pPr>
                <a:spcBef>
                  <a:spcPct val="0"/>
                </a:spcBef>
                <a:spcAft>
                  <a:spcPct val="0"/>
                </a:spcAft>
              </a:pPr>
              <a:t>Create promotion price SAP</a:t>
            </a:fld>
            <a:endParaRPr lang="en-GB" sz="600" dirty="0">
              <a:latin typeface="+mn-lt"/>
              <a:sym typeface="+mn-lt"/>
            </a:endParaRPr>
          </a:p>
        </p:txBody>
      </p:sp>
      <p:sp>
        <p:nvSpPr>
          <p:cNvPr id="116" name="Textplatzhalter 2"/>
          <p:cNvSpPr>
            <a:spLocks noGrp="1"/>
          </p:cNvSpPr>
          <p:nvPr>
            <p:custDataLst>
              <p:tags r:id="rId109"/>
            </p:custDataLst>
          </p:nvPr>
        </p:nvSpPr>
        <p:spPr bwMode="auto">
          <a:xfrm>
            <a:off x="8086725" y="5116116"/>
            <a:ext cx="198835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600" dirty="0"/>
              <a:t>TM IT</a:t>
            </a:r>
            <a:endParaRPr lang="en-GB" sz="600" dirty="0">
              <a:sym typeface="+mn-lt"/>
            </a:endParaRPr>
          </a:p>
        </p:txBody>
      </p:sp>
      <p:sp>
        <p:nvSpPr>
          <p:cNvPr id="117" name="Textplatzhalter 2"/>
          <p:cNvSpPr>
            <a:spLocks noGrp="1"/>
          </p:cNvSpPr>
          <p:nvPr>
            <p:custDataLst>
              <p:tags r:id="rId110"/>
            </p:custDataLst>
          </p:nvPr>
        </p:nvSpPr>
        <p:spPr bwMode="gray">
          <a:xfrm>
            <a:off x="354806" y="2227660"/>
            <a:ext cx="1476375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47A87E4-E3B1-4ADB-9C7B-30874BBCB6CA}" type="datetime'Plann''in''g'''' and coordinatio''n o''f t''est res''ourc''es'">
              <a:rPr lang="en-GB" altLang="en-US" sz="60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Planning and coordination of test resources</a:t>
            </a:fld>
            <a:endParaRPr lang="en-GB" sz="6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 useBgFill="1">
        <p:nvSpPr>
          <p:cNvPr id="118" name="Textplatzhalter 2"/>
          <p:cNvSpPr>
            <a:spLocks noGrp="1"/>
          </p:cNvSpPr>
          <p:nvPr>
            <p:custDataLst>
              <p:tags r:id="rId111"/>
            </p:custDataLst>
          </p:nvPr>
        </p:nvSpPr>
        <p:spPr bwMode="auto">
          <a:xfrm>
            <a:off x="5670947" y="5723335"/>
            <a:ext cx="539354" cy="164306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1DA4DD52-4909-4483-BE9C-8B0544ADAAD9}" type="datetime'''7''.''''''''5''''''''''''.''18'">
              <a:rPr lang="en-GB" altLang="en-US" sz="600"/>
              <a:pPr algn="ctr">
                <a:spcBef>
                  <a:spcPct val="0"/>
                </a:spcBef>
                <a:spcAft>
                  <a:spcPct val="0"/>
                </a:spcAft>
              </a:pPr>
              <a:t>7.5.18</a:t>
            </a:fld>
            <a:r>
              <a:rPr lang="en-GB" altLang="en-US" sz="600">
                <a:latin typeface="+mn-lt"/>
                <a:sym typeface="+mn-lt"/>
              </a:rPr>
              <a:t> - </a:t>
            </a:r>
            <a:fld id="{51A714F5-29EB-4803-ADB5-BBC1F17CCDF2}" type="datetime'''''''''''''''2''5''''.''''5''''.''''18'''''''''''''''''">
              <a:rPr lang="en-GB" altLang="en-US" sz="600"/>
              <a:pPr algn="ctr">
                <a:spcBef>
                  <a:spcPct val="0"/>
                </a:spcBef>
                <a:spcAft>
                  <a:spcPct val="0"/>
                </a:spcAft>
              </a:pPr>
              <a:t>25.5.18</a:t>
            </a:fld>
            <a:endParaRPr lang="en-GB" altLang="en-US" sz="600" dirty="0">
              <a:latin typeface="+mn-lt"/>
              <a:sym typeface="+mn-lt"/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altLang="en-US" sz="600" dirty="0">
                <a:latin typeface="+mn-lt"/>
                <a:sym typeface="+mn-lt"/>
              </a:rPr>
              <a:t>T-Test</a:t>
            </a:r>
            <a:endParaRPr lang="en-GB" altLang="en-US" sz="600" dirty="0">
              <a:latin typeface="+mn-lt"/>
              <a:sym typeface="+mn-lt"/>
            </a:endParaRPr>
          </a:p>
        </p:txBody>
      </p:sp>
      <p:sp>
        <p:nvSpPr>
          <p:cNvPr id="119" name="Textplatzhalter 2"/>
          <p:cNvSpPr>
            <a:spLocks noGrp="1"/>
          </p:cNvSpPr>
          <p:nvPr>
            <p:custDataLst>
              <p:tags r:id="rId112"/>
            </p:custDataLst>
          </p:nvPr>
        </p:nvSpPr>
        <p:spPr bwMode="auto">
          <a:xfrm>
            <a:off x="6990160" y="5345906"/>
            <a:ext cx="250031" cy="123825"/>
          </a:xfrm>
          <a:prstGeom prst="rect">
            <a:avLst/>
          </a:prstGeom>
          <a:solidFill>
            <a:srgbClr val="D6D7D9"/>
          </a:solidFill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GB" altLang="en-US" sz="450" dirty="0"/>
              <a:t>Start UAT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891D3546-12F6-406D-AA5B-789B3BC1DB04}" type="datetime'''4.''6''''''''.''''''''1''''''''''''''''''''8'">
              <a:rPr lang="en-GB" altLang="en-US" sz="450"/>
              <a:pPr algn="ctr">
                <a:spcBef>
                  <a:spcPct val="0"/>
                </a:spcBef>
                <a:spcAft>
                  <a:spcPct val="0"/>
                </a:spcAft>
              </a:pPr>
              <a:t>4.6.18</a:t>
            </a:fld>
            <a:endParaRPr lang="en-GB" sz="450" dirty="0">
              <a:latin typeface="+mn-lt"/>
              <a:sym typeface="+mn-lt"/>
            </a:endParaRPr>
          </a:p>
        </p:txBody>
      </p:sp>
      <p:sp useBgFill="1">
        <p:nvSpPr>
          <p:cNvPr id="120" name="Textplatzhalter 2"/>
          <p:cNvSpPr>
            <a:spLocks noGrp="1"/>
          </p:cNvSpPr>
          <p:nvPr>
            <p:custDataLst>
              <p:tags r:id="rId113"/>
            </p:custDataLst>
          </p:nvPr>
        </p:nvSpPr>
        <p:spPr bwMode="auto">
          <a:xfrm>
            <a:off x="7268766" y="5723335"/>
            <a:ext cx="539354" cy="164306"/>
          </a:xfrm>
          <a:prstGeom prst="rect">
            <a:avLst/>
          </a:prstGeom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F92872A-6EF3-4704-969F-4DFA031C6F2B}" type="datetime'''4''''''''''''.''6''''''''''.''''1''''''''8'''''''''">
              <a:rPr lang="en-GB" altLang="en-US" sz="600"/>
              <a:pPr algn="ctr">
                <a:spcBef>
                  <a:spcPct val="0"/>
                </a:spcBef>
                <a:spcAft>
                  <a:spcPct val="0"/>
                </a:spcAft>
              </a:pPr>
              <a:t>4.6.18</a:t>
            </a:fld>
            <a:r>
              <a:rPr lang="en-GB" altLang="en-US" sz="600">
                <a:latin typeface="+mn-lt"/>
                <a:sym typeface="+mn-lt"/>
              </a:rPr>
              <a:t> - </a:t>
            </a:r>
            <a:fld id="{53AC56E5-3173-4734-9326-46A05EDAD3A0}" type="datetime'1''4''.''6''''''''''''.''''''1''''''''''''''''''''''''''8'''''">
              <a:rPr lang="en-GB" altLang="en-US" sz="600"/>
              <a:pPr algn="ctr">
                <a:spcBef>
                  <a:spcPct val="0"/>
                </a:spcBef>
                <a:spcAft>
                  <a:spcPct val="0"/>
                </a:spcAft>
              </a:pPr>
              <a:t>14.6.18</a:t>
            </a:fld>
            <a:endParaRPr lang="en-GB" altLang="en-US" sz="600" dirty="0">
              <a:latin typeface="+mn-lt"/>
              <a:sym typeface="+mn-lt"/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altLang="en-US" sz="600" dirty="0">
                <a:latin typeface="+mn-lt"/>
                <a:sym typeface="+mn-lt"/>
              </a:rPr>
              <a:t>UAT-Test</a:t>
            </a:r>
            <a:endParaRPr lang="en-GB" altLang="en-US" sz="600" dirty="0">
              <a:latin typeface="+mn-lt"/>
              <a:sym typeface="+mn-lt"/>
            </a:endParaRPr>
          </a:p>
        </p:txBody>
      </p:sp>
      <p:sp>
        <p:nvSpPr>
          <p:cNvPr id="121" name="Textplatzhalter 2"/>
          <p:cNvSpPr>
            <a:spLocks noGrp="1"/>
          </p:cNvSpPr>
          <p:nvPr>
            <p:custDataLst>
              <p:tags r:id="rId114"/>
            </p:custDataLst>
          </p:nvPr>
        </p:nvSpPr>
        <p:spPr bwMode="auto">
          <a:xfrm>
            <a:off x="7922419" y="5345907"/>
            <a:ext cx="267891" cy="164306"/>
          </a:xfrm>
          <a:prstGeom prst="rect">
            <a:avLst/>
          </a:prstGeom>
          <a:solidFill>
            <a:srgbClr val="D6D7D9"/>
          </a:solidFill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latin typeface="+mn-lt"/>
                <a:sym typeface="+mn-lt"/>
              </a:rPr>
              <a:t>Go-Live</a:t>
            </a:r>
            <a:endParaRPr lang="en-GB" sz="600" dirty="0">
              <a:latin typeface="+mn-lt"/>
              <a:sym typeface="+mn-lt"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fld id="{EBD3D12C-73E2-4CF2-AD1C-35B83AFEFEB3}" type="datetime'''''''''''''''''''''''''''''''''''''1''8''''''''''.''''6.1''8'">
              <a:rPr lang="en-GB" altLang="en-US" sz="600"/>
              <a:pPr>
                <a:spcBef>
                  <a:spcPct val="0"/>
                </a:spcBef>
                <a:spcAft>
                  <a:spcPct val="0"/>
                </a:spcAft>
              </a:pPr>
              <a:t>18.6.18</a:t>
            </a:fld>
            <a:endParaRPr lang="en-GB" altLang="en-US" sz="600" dirty="0">
              <a:latin typeface="+mn-lt"/>
              <a:sym typeface="+mn-lt"/>
            </a:endParaRPr>
          </a:p>
        </p:txBody>
      </p:sp>
      <p:sp>
        <p:nvSpPr>
          <p:cNvPr id="122" name="Textplatzhalter 2"/>
          <p:cNvSpPr>
            <a:spLocks noGrp="1"/>
          </p:cNvSpPr>
          <p:nvPr>
            <p:custDataLst>
              <p:tags r:id="rId115"/>
            </p:custDataLst>
          </p:nvPr>
        </p:nvSpPr>
        <p:spPr bwMode="auto">
          <a:xfrm>
            <a:off x="354807" y="4161235"/>
            <a:ext cx="613172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7612AF8-3446-44CB-8ABA-48277C1C996D}" type="datetime'''''Pr''e''''''''''par''a''''''t''i''''''on SOM'' '''''''">
              <a:rPr lang="en-GB" altLang="en-US" sz="600"/>
              <a:pPr>
                <a:spcBef>
                  <a:spcPct val="0"/>
                </a:spcBef>
                <a:spcAft>
                  <a:spcPct val="0"/>
                </a:spcAft>
              </a:pPr>
              <a:t>Preparation SOM </a:t>
            </a:fld>
            <a:endParaRPr lang="en-GB" sz="600" dirty="0">
              <a:latin typeface="+mn-lt"/>
              <a:sym typeface="+mn-lt"/>
            </a:endParaRPr>
          </a:p>
        </p:txBody>
      </p:sp>
      <p:sp>
        <p:nvSpPr>
          <p:cNvPr id="123" name="Textplatzhalter 2"/>
          <p:cNvSpPr>
            <a:spLocks noGrp="1"/>
          </p:cNvSpPr>
          <p:nvPr>
            <p:custDataLst>
              <p:tags r:id="rId116"/>
            </p:custDataLst>
          </p:nvPr>
        </p:nvSpPr>
        <p:spPr bwMode="auto">
          <a:xfrm>
            <a:off x="354807" y="5250656"/>
            <a:ext cx="613172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3EA2AD4-EF68-4A86-86B9-05206262E336}" type="datetime'''''''Pre''''par''a''t''''io''''''''''''n'' S''''O''''M '''">
              <a:rPr lang="en-GB" altLang="en-US" sz="600"/>
              <a:pPr>
                <a:spcBef>
                  <a:spcPct val="0"/>
                </a:spcBef>
                <a:spcAft>
                  <a:spcPct val="0"/>
                </a:spcAft>
              </a:pPr>
              <a:t>Preparation SOM </a:t>
            </a:fld>
            <a:endParaRPr lang="en-GB" sz="600" dirty="0">
              <a:latin typeface="+mn-lt"/>
              <a:sym typeface="+mn-lt"/>
            </a:endParaRPr>
          </a:p>
        </p:txBody>
      </p:sp>
      <p:sp>
        <p:nvSpPr>
          <p:cNvPr id="124" name="Textplatzhalter 2"/>
          <p:cNvSpPr>
            <a:spLocks noGrp="1"/>
          </p:cNvSpPr>
          <p:nvPr>
            <p:custDataLst>
              <p:tags r:id="rId117"/>
            </p:custDataLst>
          </p:nvPr>
        </p:nvSpPr>
        <p:spPr bwMode="auto">
          <a:xfrm>
            <a:off x="8086725" y="5250656"/>
            <a:ext cx="198835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600" dirty="0"/>
              <a:t>TM IT</a:t>
            </a:r>
            <a:endParaRPr lang="en-GB" sz="600" dirty="0">
              <a:sym typeface="+mn-lt"/>
            </a:endParaRPr>
          </a:p>
        </p:txBody>
      </p:sp>
      <p:sp>
        <p:nvSpPr>
          <p:cNvPr id="125" name="Textplatzhalter 2"/>
          <p:cNvSpPr>
            <a:spLocks noGrp="1"/>
          </p:cNvSpPr>
          <p:nvPr>
            <p:custDataLst>
              <p:tags r:id="rId118"/>
            </p:custDataLst>
          </p:nvPr>
        </p:nvSpPr>
        <p:spPr bwMode="auto">
          <a:xfrm>
            <a:off x="8086725" y="2088356"/>
            <a:ext cx="454819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6F40481-DA13-45CE-9265-31556987EF1E}" type="datetime'R''''e''sp''''o''''n''''''s''''''''''i''''b''l''e'">
              <a:rPr lang="en-GB" altLang="en-US" sz="600" b="1"/>
              <a:pPr>
                <a:spcBef>
                  <a:spcPct val="0"/>
                </a:spcBef>
                <a:spcAft>
                  <a:spcPct val="0"/>
                </a:spcAft>
              </a:pPr>
              <a:t>Responsible</a:t>
            </a:fld>
            <a:endParaRPr lang="en-GB" sz="600" b="1" dirty="0">
              <a:latin typeface="+mn-lt"/>
              <a:sym typeface="+mn-lt"/>
            </a:endParaRPr>
          </a:p>
        </p:txBody>
      </p:sp>
      <p:sp>
        <p:nvSpPr>
          <p:cNvPr id="126" name="Textplatzhalter 2"/>
          <p:cNvSpPr>
            <a:spLocks noGrp="1"/>
          </p:cNvSpPr>
          <p:nvPr>
            <p:custDataLst>
              <p:tags r:id="rId119"/>
            </p:custDataLst>
          </p:nvPr>
        </p:nvSpPr>
        <p:spPr bwMode="auto">
          <a:xfrm>
            <a:off x="8086726" y="3407569"/>
            <a:ext cx="326231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600" dirty="0"/>
              <a:t>TM BU/IT</a:t>
            </a:r>
            <a:endParaRPr lang="en-GB" sz="600" dirty="0">
              <a:latin typeface="+mn-lt"/>
              <a:sym typeface="+mn-lt"/>
            </a:endParaRPr>
          </a:p>
        </p:txBody>
      </p:sp>
      <p:sp>
        <p:nvSpPr>
          <p:cNvPr id="127" name="Textplatzhalter 2"/>
          <p:cNvSpPr>
            <a:spLocks noGrp="1"/>
          </p:cNvSpPr>
          <p:nvPr>
            <p:custDataLst>
              <p:tags r:id="rId120"/>
            </p:custDataLst>
          </p:nvPr>
        </p:nvSpPr>
        <p:spPr bwMode="gray">
          <a:xfrm>
            <a:off x="3153966" y="2322910"/>
            <a:ext cx="214313" cy="82154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17D8C94-7A01-47D9-925A-51BB9E1BE738}" type="datetime'''6''''''''.4''''''.''''''''''1''''8'''''''">
              <a:rPr lang="en-GB" altLang="en-US" sz="60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6.4.18</a:t>
            </a:fld>
            <a:endParaRPr lang="en-GB" altLang="en-US" sz="6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128" name="Textplatzhalter 2"/>
          <p:cNvSpPr>
            <a:spLocks noGrp="1"/>
          </p:cNvSpPr>
          <p:nvPr>
            <p:custDataLst>
              <p:tags r:id="rId121"/>
            </p:custDataLst>
          </p:nvPr>
        </p:nvSpPr>
        <p:spPr bwMode="auto">
          <a:xfrm>
            <a:off x="354806" y="3758803"/>
            <a:ext cx="1525191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43FB6BB-0771-4AD6-8DF9-452C7B9A6897}" type="datetime'Chec''k &amp; ''''create ''registered'' c''ust''ome''rs (CR''M) '">
              <a:rPr lang="en-GB" altLang="en-US" sz="600"/>
              <a:pPr>
                <a:spcBef>
                  <a:spcPct val="0"/>
                </a:spcBef>
                <a:spcAft>
                  <a:spcPct val="0"/>
                </a:spcAft>
              </a:pPr>
              <a:t>Check &amp; create registered customers (CRM) </a:t>
            </a:fld>
            <a:endParaRPr lang="en-GB" sz="600" dirty="0">
              <a:latin typeface="+mn-lt"/>
              <a:sym typeface="+mn-lt"/>
            </a:endParaRPr>
          </a:p>
        </p:txBody>
      </p:sp>
      <p:sp>
        <p:nvSpPr>
          <p:cNvPr id="129" name="Textplatzhalter 2"/>
          <p:cNvSpPr>
            <a:spLocks noGrp="1"/>
          </p:cNvSpPr>
          <p:nvPr>
            <p:custDataLst>
              <p:tags r:id="rId122"/>
            </p:custDataLst>
          </p:nvPr>
        </p:nvSpPr>
        <p:spPr bwMode="auto">
          <a:xfrm>
            <a:off x="8086725" y="3758803"/>
            <a:ext cx="236935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600" dirty="0"/>
              <a:t>TM BU</a:t>
            </a:r>
            <a:endParaRPr lang="en-GB" sz="600" dirty="0">
              <a:latin typeface="+mn-lt"/>
              <a:sym typeface="+mn-lt"/>
            </a:endParaRPr>
          </a:p>
        </p:txBody>
      </p:sp>
      <p:sp>
        <p:nvSpPr>
          <p:cNvPr id="130" name="Textplatzhalter 2"/>
          <p:cNvSpPr>
            <a:spLocks noGrp="1"/>
          </p:cNvSpPr>
          <p:nvPr>
            <p:custDataLst>
              <p:tags r:id="rId123"/>
            </p:custDataLst>
          </p:nvPr>
        </p:nvSpPr>
        <p:spPr bwMode="auto">
          <a:xfrm>
            <a:off x="354807" y="2884885"/>
            <a:ext cx="898922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6107E54F-2FC2-4C64-BA82-60DDBC6D6CA1}" type="datetime'De''''fi''n''ition of te''''st ''''scenar''i''os'''''''''">
              <a:rPr lang="en-GB" altLang="en-US" sz="600"/>
              <a:pPr>
                <a:spcBef>
                  <a:spcPct val="0"/>
                </a:spcBef>
                <a:spcAft>
                  <a:spcPct val="0"/>
                </a:spcAft>
              </a:pPr>
              <a:t>Definition of test scenarios</a:t>
            </a:fld>
            <a:endParaRPr lang="en-GB" sz="600" dirty="0">
              <a:latin typeface="+mn-lt"/>
              <a:sym typeface="+mn-lt"/>
            </a:endParaRPr>
          </a:p>
        </p:txBody>
      </p:sp>
      <p:sp>
        <p:nvSpPr>
          <p:cNvPr id="131" name="Textplatzhalter 2"/>
          <p:cNvSpPr>
            <a:spLocks noGrp="1"/>
          </p:cNvSpPr>
          <p:nvPr>
            <p:custDataLst>
              <p:tags r:id="rId124"/>
            </p:custDataLst>
          </p:nvPr>
        </p:nvSpPr>
        <p:spPr bwMode="auto">
          <a:xfrm>
            <a:off x="354807" y="3893344"/>
            <a:ext cx="1069181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BF9035F-9F93-4369-A508-2AD7B16E9BAC}" type="datetime'Che''ck ''''c''o''''u''pon''''s fo''r a''ll ''coun''tries'">
              <a:rPr lang="en-GB" altLang="en-US" sz="600"/>
              <a:pPr>
                <a:spcBef>
                  <a:spcPct val="0"/>
                </a:spcBef>
                <a:spcAft>
                  <a:spcPct val="0"/>
                </a:spcAft>
              </a:pPr>
              <a:t>Check coupons for all countries</a:t>
            </a:fld>
            <a:endParaRPr lang="en-GB" sz="600" dirty="0">
              <a:latin typeface="+mn-lt"/>
              <a:sym typeface="+mn-lt"/>
            </a:endParaRPr>
          </a:p>
        </p:txBody>
      </p:sp>
      <p:sp>
        <p:nvSpPr>
          <p:cNvPr id="132" name="Textplatzhalter 2"/>
          <p:cNvSpPr>
            <a:spLocks noGrp="1"/>
          </p:cNvSpPr>
          <p:nvPr>
            <p:custDataLst>
              <p:tags r:id="rId125"/>
            </p:custDataLst>
          </p:nvPr>
        </p:nvSpPr>
        <p:spPr bwMode="auto">
          <a:xfrm>
            <a:off x="8086725" y="3893344"/>
            <a:ext cx="236935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600" dirty="0"/>
              <a:t>TM BU</a:t>
            </a:r>
            <a:endParaRPr lang="en-GB" sz="600" dirty="0">
              <a:latin typeface="+mn-lt"/>
              <a:sym typeface="+mn-lt"/>
            </a:endParaRPr>
          </a:p>
        </p:txBody>
      </p:sp>
      <p:sp>
        <p:nvSpPr>
          <p:cNvPr id="133" name="Textplatzhalter 2"/>
          <p:cNvSpPr>
            <a:spLocks noGrp="1"/>
          </p:cNvSpPr>
          <p:nvPr>
            <p:custDataLst>
              <p:tags r:id="rId126"/>
            </p:custDataLst>
          </p:nvPr>
        </p:nvSpPr>
        <p:spPr bwMode="auto">
          <a:xfrm>
            <a:off x="3414713" y="2805112"/>
            <a:ext cx="257175" cy="82154"/>
          </a:xfrm>
          <a:prstGeom prst="rect">
            <a:avLst/>
          </a:prstGeom>
          <a:solidFill>
            <a:srgbClr val="D6D7D9"/>
          </a:solidFill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31C252F-5907-4A45-B147-58694AA4BFB9}" type="datetime'1''''''''''''''''0''''.''''''4''''.18'">
              <a:rPr lang="en-GB" altLang="en-US" sz="600"/>
              <a:pPr>
                <a:spcBef>
                  <a:spcPct val="0"/>
                </a:spcBef>
                <a:spcAft>
                  <a:spcPct val="0"/>
                </a:spcAft>
              </a:pPr>
              <a:t>10.4.18</a:t>
            </a:fld>
            <a:endParaRPr lang="en-GB" altLang="en-US" sz="600" dirty="0">
              <a:latin typeface="+mn-lt"/>
              <a:sym typeface="+mn-lt"/>
            </a:endParaRPr>
          </a:p>
        </p:txBody>
      </p:sp>
      <p:sp>
        <p:nvSpPr>
          <p:cNvPr id="134" name="Textplatzhalter 2"/>
          <p:cNvSpPr>
            <a:spLocks noGrp="1"/>
          </p:cNvSpPr>
          <p:nvPr>
            <p:custDataLst>
              <p:tags r:id="rId127"/>
            </p:custDataLst>
          </p:nvPr>
        </p:nvSpPr>
        <p:spPr bwMode="auto">
          <a:xfrm>
            <a:off x="354806" y="4026694"/>
            <a:ext cx="953691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CD2A0FD-4061-422B-8B88-196CE7F2B195}" type="datetime'''''''''Cr''e''''''ate pr''''omotion ''''''''pr''ice'' S''AP'">
              <a:rPr lang="en-GB" altLang="en-US" sz="600"/>
              <a:pPr>
                <a:spcBef>
                  <a:spcPct val="0"/>
                </a:spcBef>
                <a:spcAft>
                  <a:spcPct val="0"/>
                </a:spcAft>
              </a:pPr>
              <a:t>Create promotion price SAP</a:t>
            </a:fld>
            <a:endParaRPr lang="en-GB" sz="600" dirty="0">
              <a:latin typeface="+mn-lt"/>
              <a:sym typeface="+mn-lt"/>
            </a:endParaRPr>
          </a:p>
        </p:txBody>
      </p:sp>
      <p:sp>
        <p:nvSpPr>
          <p:cNvPr id="135" name="Textplatzhalter 2"/>
          <p:cNvSpPr>
            <a:spLocks noGrp="1"/>
          </p:cNvSpPr>
          <p:nvPr>
            <p:custDataLst>
              <p:tags r:id="rId128"/>
            </p:custDataLst>
          </p:nvPr>
        </p:nvSpPr>
        <p:spPr bwMode="auto">
          <a:xfrm>
            <a:off x="8086725" y="4026694"/>
            <a:ext cx="198835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600" dirty="0"/>
              <a:t>TM IT</a:t>
            </a:r>
            <a:endParaRPr lang="en-GB" sz="600" dirty="0">
              <a:latin typeface="+mn-lt"/>
              <a:sym typeface="+mn-lt"/>
            </a:endParaRPr>
          </a:p>
        </p:txBody>
      </p:sp>
      <p:sp>
        <p:nvSpPr>
          <p:cNvPr id="136" name="Textplatzhalter 2"/>
          <p:cNvSpPr>
            <a:spLocks noGrp="1"/>
          </p:cNvSpPr>
          <p:nvPr>
            <p:custDataLst>
              <p:tags r:id="rId129"/>
            </p:custDataLst>
          </p:nvPr>
        </p:nvSpPr>
        <p:spPr bwMode="auto">
          <a:xfrm>
            <a:off x="354806" y="3542110"/>
            <a:ext cx="947738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2847406-3C65-469D-BB3E-CA36D7364F01}" type="datetime'''Ch''eck sto''''c''''''k'' in AFS'' ''''&amp;'' ''E''''''WM'''''">
              <a:rPr lang="en-GB" altLang="en-US" sz="600"/>
              <a:pPr>
                <a:spcBef>
                  <a:spcPct val="0"/>
                </a:spcBef>
                <a:spcAft>
                  <a:spcPct val="0"/>
                </a:spcAft>
              </a:pPr>
              <a:t>Check stock in AFS &amp; EWM</a:t>
            </a:fld>
            <a:endParaRPr lang="en-GB" sz="600" dirty="0">
              <a:latin typeface="+mn-lt"/>
              <a:sym typeface="+mn-lt"/>
            </a:endParaRPr>
          </a:p>
        </p:txBody>
      </p:sp>
      <p:sp>
        <p:nvSpPr>
          <p:cNvPr id="137" name="Textplatzhalter 2"/>
          <p:cNvSpPr>
            <a:spLocks noGrp="1"/>
          </p:cNvSpPr>
          <p:nvPr>
            <p:custDataLst>
              <p:tags r:id="rId130"/>
            </p:custDataLst>
          </p:nvPr>
        </p:nvSpPr>
        <p:spPr bwMode="auto">
          <a:xfrm>
            <a:off x="8086725" y="3057526"/>
            <a:ext cx="598885" cy="164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ym typeface="+mn-lt"/>
              </a:rPr>
              <a:t>TM BU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600" dirty="0" err="1">
                <a:latin typeface="+mn-lt"/>
                <a:sym typeface="+mn-lt"/>
              </a:rPr>
              <a:t>Realization</a:t>
            </a:r>
            <a:r>
              <a:rPr lang="de-DE" sz="600" dirty="0">
                <a:latin typeface="+mn-lt"/>
                <a:sym typeface="+mn-lt"/>
              </a:rPr>
              <a:t> TM IT</a:t>
            </a:r>
            <a:endParaRPr lang="en-GB" sz="600" dirty="0">
              <a:latin typeface="+mn-lt"/>
              <a:sym typeface="+mn-lt"/>
            </a:endParaRPr>
          </a:p>
        </p:txBody>
      </p:sp>
      <p:sp>
        <p:nvSpPr>
          <p:cNvPr id="138" name="Textplatzhalter 2"/>
          <p:cNvSpPr>
            <a:spLocks noGrp="1"/>
          </p:cNvSpPr>
          <p:nvPr>
            <p:custDataLst>
              <p:tags r:id="rId131"/>
            </p:custDataLst>
          </p:nvPr>
        </p:nvSpPr>
        <p:spPr bwMode="gray">
          <a:xfrm>
            <a:off x="5085160" y="4256485"/>
            <a:ext cx="300038" cy="123825"/>
          </a:xfrm>
          <a:prstGeom prst="rect">
            <a:avLst/>
          </a:prstGeom>
          <a:solidFill>
            <a:schemeClr val="tx2"/>
          </a:solidFill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altLang="en-US" sz="450" dirty="0">
                <a:solidFill>
                  <a:schemeClr val="bg1"/>
                </a:solidFill>
                <a:latin typeface="+mn-lt"/>
                <a:sym typeface="+mn-lt"/>
              </a:rPr>
              <a:t>Start T-Test</a:t>
            </a:r>
            <a:endParaRPr lang="en-GB" altLang="en-US" sz="450" dirty="0">
              <a:solidFill>
                <a:schemeClr val="bg1"/>
              </a:solidFill>
              <a:latin typeface="+mn-lt"/>
              <a:sym typeface="+mn-lt"/>
            </a:endParaRPr>
          </a:p>
          <a:p>
            <a:pPr algn="ctr">
              <a:spcBef>
                <a:spcPct val="0"/>
              </a:spcBef>
              <a:spcAft>
                <a:spcPct val="0"/>
              </a:spcAft>
            </a:pPr>
            <a:fld id="{E1B47F59-A4F4-4FF5-AF97-3A8A84FB31C9}" type="datetime'7''''''''''.''''''''''''''''''''''''''''''''5''''''''.18'''">
              <a:rPr lang="en-GB" altLang="en-US" sz="450">
                <a:solidFill>
                  <a:schemeClr val="bg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.5.18</a:t>
            </a:fld>
            <a:endParaRPr lang="en-GB" altLang="en-US" sz="45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139" name="Textplatzhalter 2"/>
          <p:cNvSpPr>
            <a:spLocks noGrp="1"/>
          </p:cNvSpPr>
          <p:nvPr>
            <p:custDataLst>
              <p:tags r:id="rId132"/>
            </p:custDataLst>
          </p:nvPr>
        </p:nvSpPr>
        <p:spPr bwMode="auto">
          <a:xfrm>
            <a:off x="354807" y="3273028"/>
            <a:ext cx="813197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467B5B7-79EA-49F4-AE5B-F1B9BB8BF8D8}" type="datetime'''''Re''v''i''''''''ew ''te''st ''d''''o''c''u''men''ts '''">
              <a:rPr lang="en-GB" altLang="en-US" sz="600"/>
              <a:pPr>
                <a:spcBef>
                  <a:spcPct val="0"/>
                </a:spcBef>
                <a:spcAft>
                  <a:spcPct val="0"/>
                </a:spcAft>
              </a:pPr>
              <a:t>Review test documents </a:t>
            </a:fld>
            <a:endParaRPr lang="en-GB" sz="600" dirty="0">
              <a:latin typeface="+mn-lt"/>
              <a:sym typeface="+mn-lt"/>
            </a:endParaRPr>
          </a:p>
        </p:txBody>
      </p:sp>
      <p:sp>
        <p:nvSpPr>
          <p:cNvPr id="140" name="Textplatzhalter 2"/>
          <p:cNvSpPr>
            <a:spLocks noGrp="1"/>
          </p:cNvSpPr>
          <p:nvPr>
            <p:custDataLst>
              <p:tags r:id="rId133"/>
            </p:custDataLst>
          </p:nvPr>
        </p:nvSpPr>
        <p:spPr bwMode="auto">
          <a:xfrm>
            <a:off x="8086726" y="3273028"/>
            <a:ext cx="326231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600" dirty="0"/>
              <a:t>TM BU/IT</a:t>
            </a:r>
            <a:endParaRPr lang="en-GB" sz="600" dirty="0">
              <a:latin typeface="+mn-lt"/>
              <a:sym typeface="+mn-lt"/>
            </a:endParaRPr>
          </a:p>
        </p:txBody>
      </p:sp>
      <p:sp>
        <p:nvSpPr>
          <p:cNvPr id="141" name="Textplatzhalter 2"/>
          <p:cNvSpPr>
            <a:spLocks noGrp="1"/>
          </p:cNvSpPr>
          <p:nvPr>
            <p:custDataLst>
              <p:tags r:id="rId134"/>
            </p:custDataLst>
          </p:nvPr>
        </p:nvSpPr>
        <p:spPr bwMode="gray">
          <a:xfrm>
            <a:off x="3153966" y="2508647"/>
            <a:ext cx="214313" cy="82154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2223705-D3A3-467C-A570-FDFEEFF37614}" type="datetime'''''''''''''''6''.''''''''4''''''.1''''''''''''''''''''''''8'">
              <a:rPr lang="en-GB" altLang="en-US" sz="60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6.4.18</a:t>
            </a:fld>
            <a:endParaRPr lang="en-GB" altLang="en-US" sz="6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142" name="Textplatzhalter 2"/>
          <p:cNvSpPr>
            <a:spLocks noGrp="1"/>
          </p:cNvSpPr>
          <p:nvPr>
            <p:custDataLst>
              <p:tags r:id="rId135"/>
            </p:custDataLst>
          </p:nvPr>
        </p:nvSpPr>
        <p:spPr bwMode="gray">
          <a:xfrm>
            <a:off x="8086726" y="2411016"/>
            <a:ext cx="689372" cy="246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600" dirty="0">
                <a:solidFill>
                  <a:schemeClr val="bg1"/>
                </a:solidFill>
              </a:rPr>
              <a:t>PL BU / IT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olidFill>
                  <a:schemeClr val="bg1"/>
                </a:solidFill>
                <a:sym typeface="+mn-lt"/>
              </a:rPr>
              <a:t>Test Manager BU/IT</a:t>
            </a:r>
            <a:endParaRPr lang="en-GB" sz="600" dirty="0">
              <a:solidFill>
                <a:schemeClr val="bg1"/>
              </a:solidFill>
              <a:sym typeface="+mn-lt"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endParaRPr lang="en-GB" sz="6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143" name="Textplatzhalter 2"/>
          <p:cNvSpPr>
            <a:spLocks noGrp="1"/>
          </p:cNvSpPr>
          <p:nvPr>
            <p:custDataLst>
              <p:tags r:id="rId136"/>
            </p:custDataLst>
          </p:nvPr>
        </p:nvSpPr>
        <p:spPr bwMode="gray">
          <a:xfrm>
            <a:off x="354807" y="2709862"/>
            <a:ext cx="1345406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CFFFDC0E-6A86-4AF0-8247-E70F35904C9A}" type="datetime'Elaboratio''n ''of possib''l''e syne''rg''i''es / risk''''s'''">
              <a:rPr lang="en-GB" altLang="en-US" sz="600">
                <a:solidFill>
                  <a:schemeClr val="bg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Elaboration of possible synergies / risks</a:t>
            </a:fld>
            <a:endParaRPr lang="en-GB" sz="6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144" name="Textplatzhalter 2"/>
          <p:cNvSpPr>
            <a:spLocks noGrp="1"/>
          </p:cNvSpPr>
          <p:nvPr>
            <p:custDataLst>
              <p:tags r:id="rId137"/>
            </p:custDataLst>
          </p:nvPr>
        </p:nvSpPr>
        <p:spPr bwMode="auto">
          <a:xfrm>
            <a:off x="8086725" y="4161235"/>
            <a:ext cx="198835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sz="600" dirty="0">
                <a:sym typeface="+mn-lt"/>
              </a:rPr>
              <a:t>TM IT</a:t>
            </a:r>
            <a:endParaRPr lang="en-GB" sz="600" dirty="0">
              <a:latin typeface="+mn-lt"/>
              <a:sym typeface="+mn-lt"/>
            </a:endParaRPr>
          </a:p>
        </p:txBody>
      </p:sp>
      <p:sp>
        <p:nvSpPr>
          <p:cNvPr id="145" name="Textplatzhalter 2"/>
          <p:cNvSpPr>
            <a:spLocks noGrp="1"/>
          </p:cNvSpPr>
          <p:nvPr>
            <p:custDataLst>
              <p:tags r:id="rId138"/>
            </p:custDataLst>
          </p:nvPr>
        </p:nvSpPr>
        <p:spPr bwMode="gray">
          <a:xfrm>
            <a:off x="8086725" y="2709862"/>
            <a:ext cx="369094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600" dirty="0">
                <a:solidFill>
                  <a:schemeClr val="bg1"/>
                </a:solidFill>
                <a:latin typeface="+mn-lt"/>
                <a:sym typeface="+mn-lt"/>
              </a:rPr>
              <a:t>TM BU / IT</a:t>
            </a:r>
            <a:endParaRPr lang="en-GB" sz="6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146" name="Textplatzhalter 2"/>
          <p:cNvSpPr>
            <a:spLocks noGrp="1"/>
          </p:cNvSpPr>
          <p:nvPr>
            <p:custDataLst>
              <p:tags r:id="rId139"/>
            </p:custDataLst>
          </p:nvPr>
        </p:nvSpPr>
        <p:spPr bwMode="auto">
          <a:xfrm>
            <a:off x="4167188" y="2980135"/>
            <a:ext cx="257175" cy="82154"/>
          </a:xfrm>
          <a:prstGeom prst="rect">
            <a:avLst/>
          </a:prstGeom>
          <a:solidFill>
            <a:schemeClr val="accent6"/>
          </a:solidFill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8108F05-F08A-43F0-8B9E-553991B38D1D}" type="datetime'''''2''''''''''''0''.''''''''''''''4.1''8'">
              <a:rPr lang="en-GB" altLang="en-US" sz="600"/>
              <a:pPr>
                <a:spcBef>
                  <a:spcPct val="0"/>
                </a:spcBef>
                <a:spcAft>
                  <a:spcPct val="0"/>
                </a:spcAft>
              </a:pPr>
              <a:t>20.4.18</a:t>
            </a:fld>
            <a:endParaRPr lang="en-GB" altLang="en-US" sz="600" dirty="0">
              <a:latin typeface="+mn-lt"/>
              <a:sym typeface="+mn-lt"/>
            </a:endParaRPr>
          </a:p>
        </p:txBody>
      </p:sp>
      <p:sp>
        <p:nvSpPr>
          <p:cNvPr id="147" name="Textplatzhalter 2"/>
          <p:cNvSpPr>
            <a:spLocks noGrp="1"/>
          </p:cNvSpPr>
          <p:nvPr>
            <p:custDataLst>
              <p:tags r:id="rId140"/>
            </p:custDataLst>
          </p:nvPr>
        </p:nvSpPr>
        <p:spPr bwMode="auto">
          <a:xfrm>
            <a:off x="8086725" y="2884885"/>
            <a:ext cx="258366" cy="821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None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0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176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300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38800" indent="-208800" algn="l" defTabSz="779252" rtl="0" eaLnBrk="1" latinLnBrk="0" hangingPunct="1">
              <a:lnSpc>
                <a:spcPct val="90000"/>
              </a:lnSpc>
              <a:spcBef>
                <a:spcPts val="960"/>
              </a:spcBef>
              <a:spcAft>
                <a:spcPts val="576"/>
              </a:spcAft>
              <a:buFont typeface="Wingdings" pitchFamily="2" charset="2"/>
              <a:buChar char="§"/>
              <a:defRPr lang="de-DE" sz="16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948129" indent="0" algn="l" defTabSz="779252" rtl="0" eaLnBrk="1" latinLnBrk="0" hangingPunct="1">
              <a:spcBef>
                <a:spcPct val="20000"/>
              </a:spcBef>
              <a:buFont typeface="Arial" pitchFamily="34" charset="0"/>
              <a:buNone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de-DE" altLang="en-US" sz="600" dirty="0"/>
              <a:t>TM BU </a:t>
            </a:r>
            <a:endParaRPr lang="en-GB" sz="600" dirty="0">
              <a:latin typeface="+mn-lt"/>
              <a:sym typeface="+mn-lt"/>
            </a:endParaRPr>
          </a:p>
        </p:txBody>
      </p:sp>
      <p:grpSp>
        <p:nvGrpSpPr>
          <p:cNvPr id="148" name="Group 17"/>
          <p:cNvGrpSpPr>
            <a:grpSpLocks/>
          </p:cNvGrpSpPr>
          <p:nvPr/>
        </p:nvGrpSpPr>
        <p:grpSpPr bwMode="auto">
          <a:xfrm>
            <a:off x="7668344" y="61487"/>
            <a:ext cx="1216269" cy="1279281"/>
            <a:chOff x="5410" y="346"/>
            <a:chExt cx="830" cy="873"/>
          </a:xfrm>
          <a:solidFill>
            <a:srgbClr val="BE0000"/>
          </a:solidFill>
        </p:grpSpPr>
        <p:sp>
          <p:nvSpPr>
            <p:cNvPr id="149" name="Freeform 18"/>
            <p:cNvSpPr>
              <a:spLocks/>
            </p:cNvSpPr>
            <p:nvPr/>
          </p:nvSpPr>
          <p:spPr bwMode="gray">
            <a:xfrm>
              <a:off x="5410" y="391"/>
              <a:ext cx="830" cy="828"/>
            </a:xfrm>
            <a:custGeom>
              <a:avLst/>
              <a:gdLst>
                <a:gd name="T0" fmla="*/ 46 w 590"/>
                <a:gd name="T1" fmla="*/ 0 h 589"/>
                <a:gd name="T2" fmla="*/ 182 w 590"/>
                <a:gd name="T3" fmla="*/ 0 h 589"/>
                <a:gd name="T4" fmla="*/ 590 w 590"/>
                <a:gd name="T5" fmla="*/ 408 h 589"/>
                <a:gd name="T6" fmla="*/ 590 w 590"/>
                <a:gd name="T7" fmla="*/ 544 h 589"/>
                <a:gd name="T8" fmla="*/ 590 w 590"/>
                <a:gd name="T9" fmla="*/ 589 h 589"/>
                <a:gd name="T10" fmla="*/ 0 w 590"/>
                <a:gd name="T11" fmla="*/ 0 h 589"/>
                <a:gd name="T12" fmla="*/ 46 w 590"/>
                <a:gd name="T13" fmla="*/ 0 h 58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90"/>
                <a:gd name="T22" fmla="*/ 0 h 589"/>
                <a:gd name="T23" fmla="*/ 590 w 590"/>
                <a:gd name="T24" fmla="*/ 589 h 58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90" h="589">
                  <a:moveTo>
                    <a:pt x="46" y="0"/>
                  </a:moveTo>
                  <a:lnTo>
                    <a:pt x="182" y="0"/>
                  </a:lnTo>
                  <a:lnTo>
                    <a:pt x="590" y="408"/>
                  </a:lnTo>
                  <a:lnTo>
                    <a:pt x="590" y="544"/>
                  </a:lnTo>
                  <a:lnTo>
                    <a:pt x="590" y="589"/>
                  </a:lnTo>
                  <a:lnTo>
                    <a:pt x="0" y="0"/>
                  </a:lnTo>
                  <a:lnTo>
                    <a:pt x="46" y="0"/>
                  </a:lnTo>
                  <a:close/>
                </a:path>
              </a:pathLst>
            </a:custGeom>
            <a:grpFill/>
            <a:ln w="0" cap="flat" cmpd="sng">
              <a:solidFill>
                <a:srgbClr val="BE0000"/>
              </a:solidFill>
              <a:prstDash val="solid"/>
              <a:round/>
              <a:headEnd/>
              <a:tailEnd/>
            </a:ln>
          </p:spPr>
          <p:txBody>
            <a:bodyPr wrap="none" lIns="83077" tIns="43200" rIns="83077" bIns="43200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de-DE" sz="1477" dirty="0">
                <a:solidFill>
                  <a:srgbClr val="333333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50" name="Rectangle 19"/>
            <p:cNvSpPr>
              <a:spLocks noChangeArrowheads="1"/>
            </p:cNvSpPr>
            <p:nvPr/>
          </p:nvSpPr>
          <p:spPr bwMode="gray">
            <a:xfrm rot="2700000">
              <a:off x="5505" y="691"/>
              <a:ext cx="766" cy="76"/>
            </a:xfrm>
            <a:prstGeom prst="rect">
              <a:avLst/>
            </a:prstGeom>
            <a:grpFill/>
            <a:ln w="6350" algn="ctr">
              <a:noFill/>
              <a:miter lim="800000"/>
              <a:headEnd/>
              <a:tailEnd/>
            </a:ln>
          </p:spPr>
          <p:txBody>
            <a:bodyPr lIns="83077" tIns="43200" rIns="83077" bIns="4320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de-DE" sz="1292" dirty="0">
                  <a:solidFill>
                    <a:srgbClr val="FFFFFF"/>
                  </a:solidFill>
                  <a:cs typeface="Arial" panose="020B0604020202020204" pitchFamily="34" charset="0"/>
                </a:rPr>
                <a:t>DRAF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835111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FsbzZgYS_q.sQG6TY4u1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C.iBIBSY6QdhuGDXL5g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V0oZUEQIGLy3kIxnLBc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S_rLQdR7iKQVxQYobrv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pnD4wfTyqfYYItjtyyK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XarB6nTD6xaswZa4LHg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vuoqipTs2UwXt3A0Mnh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.4PX6lfSfGP3dLlKJyrE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e.HQA.Spq7XNYg770Kb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cLEk2BRM.pEDUQ7mc90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PoZpxpSo.ZHY584eq8.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9hltN9QSuhkWPd9W5UV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y3LR_HRX.KZ3.YIQDKk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p_07tXRnKrhP1HWKN14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3.XRwKTIaCtSc1_VZ5j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rMIkvGS6S_3BqcPfkQF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rjwI1YQjWy7HOTNDpW8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iuHlizSRObqX9SAWDaE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QwZ6E0RNu_1nlvMYOpT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2rc52zT2KjvKfXmK0GH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cBmzoORQ.VVa92fluOZ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.0UOPFTtCZJQT0mN1qE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BprTnkQwyzzkUqzQBpm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sin4xfSY2aCG3xLAbx2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RybQW2QxyBi61f2cZLU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CKCxyUQdOeYdKrsrarQ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V26crlTF2c6krqBh3Rf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JBMO9VRAG63Pjr1d1q6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rv7BTwRnWu1s0.lZz1y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64FWZuQECkK4ZoKuGHQ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vpUTrcQ56vGDLnZVZOL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TJWWkkSguCiPHGvxDMi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9fH9Q.Tr6b1Wcxdwqxq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hpbYSWQIyjnuPmJzSe.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X_OAEmTE6Ex3ZoJNMbl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JRloQgSl.7jC9aBbM3k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bXgo4jRTK9xZUx3myFG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yJqiXYRh2MW.YVhcl0I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MuzVepTA66FQZko02wD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D6i.eKT2ah1vx2ahqmk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IkTucuS7ayEa3eXf1b.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o0dPqqTO68Gh0Q5zmhO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dsVVspSDyc_3apfeNim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JFtTxkQPua647jtbuDO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2DMao5Rhe9Ilq93w9rC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BG14bqSSK679zdu51GY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6dt8TfT4W46wT_qtizd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FOLzuCSfuNp.AhF7p.T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drNqhzS3uRw_YVybsNW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IWmg_fRUa_58wsEEwNJ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pCT8m7QxC60n4GE_wb7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sTp00KRf63AR3mzmepk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eAl1y2SGqGtxfbbqkRG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rbIVOFSl2h4ommVt6U1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Z13ReHQomvEufZm3zlU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VoG0ELScOzPeSJ9FgzG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9XUHqSRmaFe.TDqgJeh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Av2ojiSjC7u.NU2RQh5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FVZHWfRc.DBCsJ.mZ5b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JcOaH4QruP4hgMtXDu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rJI92uSdqrdFNpydfzc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poVSXmT0a35MVopB0AM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y1ERbSRHun3iR4RR661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j7U_szS6OsMrc0w6uhR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8_RIu2Tw6InTQXSN4Ei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roY6ejQmGRuc9Thip_C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Hv_jFESuu1cMxz2UKAs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XYQIXzS36eowsw5MsZX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4onUkTTAeiRvMBYB_Qd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S_MQs3RcSvihJC8LbHc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NleGr5SxGHOyFDwL9WP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X7nd8bRzaTO5PL0LuSM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oQKthLTuO.LsYdzVf4H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.kFxmBR2mJlk5b7UJT4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evrt5lT0OO37yG_soXU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xNs_F7Q6a3VGGg5cSTJ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WPd0bUSQ69rGn.pNBt1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y1I_vSTVmwU7TzLdADK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gEFcsmTj6U01Oj.30QD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vi57LoSeGg7qkMyrMhY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zRoE_vQvmiY7eUPyNo5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CFKlD1QneBIe5Z1ABvb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r0XXBaQIqK36Xouf.Co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Sn78R4ScWUFFKdlyFqx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jD9HiSRfSNYEEO9dNjL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CUQGGQSBuwupWJP63wq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A2OFUfcQ1ihWfNZb2RvV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xmE0GPQgesW9GFpUIlh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nZtRLYQQa_7v5ibatg1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Is3JmIR266hjLn8ou6i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ozRhy.RtygswQlTc_16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C8BAfATti5Kelv3WiRP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VzvvnwS.W8Cl12f3TQG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Sk2DmmNSHertRxFISHx8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X.A7MlSJmvNNW797EpJ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bF4EAmTnqOiPpL9QC_y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9c9GqjQU2fHrGEN5xN6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UHpu53T5OuAFBy9C73e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w88WrHQWO9IU2IJdZWi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LAZAP0QTOUQkFnlxBwJ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jiRteSRm27EPcSgiift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YzEl3jT9axCMLZwV4Pp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f8IfunTcCKMAaEUFXnQ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UTLzWTSt.7ync1KiHzl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ZRH0piQn.w2SbmAvobK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Lk3EO4TEu_viwOWnHXA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b4ovBITIWNjmSNDum.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3L501lTL.kB9k6FKkVK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gW8zAKT0eg0nQiXQCzj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RfRgHJTfan3wUhb06r9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bLremDTEmDHn6PtvzJW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6nvcR2TN.h0VgNyWonZ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wpmPFnT1C8OatCXEtqc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nrV3PiQ8CDg6VUXl4Z1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Ghg5ksQVmqQEOzG1G2P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F7xr4OT7mXLJ32N8gWC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hWpuWiQBqDROK5wGn_p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R02S6ERn2skYbJZTeRX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W7JexdTTGtbpuEu9zKo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6e2zz7SdaoLWVT1W8DL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m6kG5iTWuDeL.AeEWSC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_zOnTGQ3mLULpURTulz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8zvmveSgWFGSGqu2WVP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ZoT0TyTGiNuvOFd2563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Zt3sGHTXixXWwepEbWh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UvdHhrTzy49Qx0sayMx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_YQobQtQiy8WkqzT4lvA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x3ZcLDRYa0ClNWfFjSY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C9HkxpTB2ESGXr1yyaW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joD3gQvOZr6c7lARIT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diGWrjT5Sm7TM5UW9vh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eULNttQbeKpENUsET_2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l585zdThG2yiUMGA66B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Y78G2DRJKoIOjxoZ.fp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zoCIvGTD6xMYyQwZVnV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69u5rdSymlFwATjEvdP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vWKh_ZTTaa2cfnZafTP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ccl4tdS16jUYwZHjWEF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_vZvrlQcaPLg2I_QjRQ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K3FTm1QsWAOttkGfcB4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9</Words>
  <Application>Microsoft Office PowerPoint</Application>
  <PresentationFormat>Widescreen</PresentationFormat>
  <Paragraphs>78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Univers for HB</vt:lpstr>
      <vt:lpstr>Wingdings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Braun, Axel (external)</cp:lastModifiedBy>
  <cp:revision>2</cp:revision>
  <dcterms:created xsi:type="dcterms:W3CDTF">2018-08-22T06:17:59Z</dcterms:created>
  <dcterms:modified xsi:type="dcterms:W3CDTF">2018-08-22T06:22:07Z</dcterms:modified>
</cp:coreProperties>
</file>